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7" r:id="rId1"/>
    <p:sldMasterId id="2147483681" r:id="rId2"/>
  </p:sldMasterIdLst>
  <p:notesMasterIdLst>
    <p:notesMasterId r:id="rId22"/>
  </p:notesMasterIdLst>
  <p:sldIdLst>
    <p:sldId id="280" r:id="rId3"/>
    <p:sldId id="282" r:id="rId4"/>
    <p:sldId id="283" r:id="rId5"/>
    <p:sldId id="258" r:id="rId6"/>
    <p:sldId id="259" r:id="rId7"/>
    <p:sldId id="285" r:id="rId8"/>
    <p:sldId id="271" r:id="rId9"/>
    <p:sldId id="287" r:id="rId10"/>
    <p:sldId id="288" r:id="rId11"/>
    <p:sldId id="278" r:id="rId12"/>
    <p:sldId id="266" r:id="rId13"/>
    <p:sldId id="281" r:id="rId14"/>
    <p:sldId id="270" r:id="rId15"/>
    <p:sldId id="269" r:id="rId16"/>
    <p:sldId id="274" r:id="rId17"/>
    <p:sldId id="275" r:id="rId18"/>
    <p:sldId id="276" r:id="rId19"/>
    <p:sldId id="277" r:id="rId20"/>
    <p:sldId id="268" r:id="rId21"/>
  </p:sldIdLst>
  <p:sldSz cx="9144000" cy="6858000" type="screen4x3"/>
  <p:notesSz cx="9928225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F9FF"/>
    <a:srgbClr val="ACD3FE"/>
    <a:srgbClr val="78CEF4"/>
    <a:srgbClr val="99CCFF"/>
    <a:srgbClr val="CCECFF"/>
    <a:srgbClr val="7BB9FD"/>
    <a:srgbClr val="FEF7FF"/>
    <a:srgbClr val="8CE0E0"/>
    <a:srgbClr val="F7CAFF"/>
    <a:srgbClr val="FFED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1" autoAdjust="0"/>
    <p:restoredTop sz="94660"/>
  </p:normalViewPr>
  <p:slideViewPr>
    <p:cSldViewPr>
      <p:cViewPr>
        <p:scale>
          <a:sx n="80" d="100"/>
          <a:sy n="80" d="100"/>
        </p:scale>
        <p:origin x="-996" y="-58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yegizbayev.d\Desktop\&#1057;&#1061;&#1052;&#1040;&#1064;&#1048;&#1053;&#1054;&#1057;&#1058;&#1056;&#1054;&#1045;&#1053;&#1048;&#1045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yegizbayev.d\Desktop\&#1057;&#1061;&#1052;&#1040;&#1064;&#1048;&#1053;&#1054;&#1057;&#1058;&#1056;&#1054;&#1045;&#1053;&#1048;&#1045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C:\Users\yegizbayev.d\Desktop\&#1057;&#1061;&#1052;&#1040;&#1064;&#1048;&#1053;&#1054;&#1057;&#1058;&#1056;&#1054;&#1045;&#1053;&#1048;&#1045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C:\Users\yegizbayev.d\Desktop\&#1057;&#1061;&#1052;&#1040;&#1064;&#1048;&#1053;&#1054;&#1057;&#1058;&#1056;&#1054;&#1045;&#1053;&#1048;&#1045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айны - 36,5 </a:t>
            </a:r>
            <a:r>
              <a:rPr 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тенге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P$6</c:f>
              <c:strCache>
                <c:ptCount val="1"/>
                <c:pt idx="0">
                  <c:v>Стран СНГ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6:$AC$6</c:f>
              <c:numCache>
                <c:formatCode>#,##0</c:formatCode>
                <c:ptCount val="4"/>
                <c:pt idx="0">
                  <c:v>548</c:v>
                </c:pt>
                <c:pt idx="1">
                  <c:v>846.56857142857154</c:v>
                </c:pt>
                <c:pt idx="2">
                  <c:v>1143.8361904761905</c:v>
                </c:pt>
                <c:pt idx="3">
                  <c:v>1441.1038095238096</c:v>
                </c:pt>
              </c:numCache>
              <c:extLst/>
            </c:numRef>
          </c:val>
        </c:ser>
        <c:ser>
          <c:idx val="1"/>
          <c:order val="1"/>
          <c:tx>
            <c:strRef>
              <c:f>Лист1!$P$24</c:f>
              <c:strCache>
                <c:ptCount val="1"/>
                <c:pt idx="0">
                  <c:v>Стран ДЗ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7:$AC$7</c:f>
              <c:numCache>
                <c:formatCode>#,##0</c:formatCode>
                <c:ptCount val="4"/>
                <c:pt idx="0">
                  <c:v>366</c:v>
                </c:pt>
                <c:pt idx="1">
                  <c:v>274.2</c:v>
                </c:pt>
                <c:pt idx="2">
                  <c:v>182.8</c:v>
                </c:pt>
                <c:pt idx="3">
                  <c:v>91.4</c:v>
                </c:pt>
              </c:numCache>
              <c:extLst/>
            </c:numRef>
          </c:val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412207493418369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14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5.882943324557817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12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6.373188601604298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327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2139579917974609E-3"/>
                  <c:y val="-6.373188601604298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53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8:$AC$8</c:f>
              <c:numCache>
                <c:formatCode>General</c:formatCode>
                <c:ptCount val="4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  <c:extLst/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88551424"/>
        <c:axId val="88552960"/>
      </c:barChart>
      <c:catAx>
        <c:axId val="8855142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one"/>
        <c:crossAx val="88552960"/>
        <c:crosses val="autoZero"/>
        <c:auto val="1"/>
        <c:lblAlgn val="ctr"/>
        <c:lblOffset val="100"/>
        <c:noMultiLvlLbl val="0"/>
      </c:catAx>
      <c:valAx>
        <c:axId val="8855296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one"/>
        <c:crossAx val="88551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ктора - 113,3 </a:t>
            </a:r>
            <a:r>
              <a:rPr 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тенге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P$14</c:f>
              <c:strCache>
                <c:ptCount val="1"/>
                <c:pt idx="0">
                  <c:v>Стран СНГ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14:$AC$14</c:f>
              <c:numCache>
                <c:formatCode>#,##0</c:formatCode>
                <c:ptCount val="4"/>
                <c:pt idx="0">
                  <c:v>2008</c:v>
                </c:pt>
                <c:pt idx="1">
                  <c:v>3500.8992957746486</c:v>
                </c:pt>
                <c:pt idx="2">
                  <c:v>4992.9070422535215</c:v>
                </c:pt>
                <c:pt idx="3">
                  <c:v>6484.9147887323898</c:v>
                </c:pt>
              </c:numCache>
              <c:extLst/>
            </c:numRef>
          </c:val>
        </c:ser>
        <c:ser>
          <c:idx val="1"/>
          <c:order val="1"/>
          <c:tx>
            <c:strRef>
              <c:f>Лист1!$P$15</c:f>
              <c:strCache>
                <c:ptCount val="1"/>
                <c:pt idx="0">
                  <c:v>Стран ДЗ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15:$AC$15</c:f>
              <c:numCache>
                <c:formatCode>#,##0</c:formatCode>
                <c:ptCount val="4"/>
                <c:pt idx="0">
                  <c:v>1339</c:v>
                </c:pt>
                <c:pt idx="1">
                  <c:v>1004.0999999999999</c:v>
                </c:pt>
                <c:pt idx="2">
                  <c:v>669.40000000000009</c:v>
                </c:pt>
                <c:pt idx="3">
                  <c:v>334.70000000000005</c:v>
                </c:pt>
              </c:numCache>
              <c:extLst/>
            </c:numRef>
          </c:val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3845852865132845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accent5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 347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2198705054283993E-3"/>
                  <c:y val="-4.3845852865132755E-2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chemeClr val="accent5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 50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6.4397410108568021E-3"/>
                  <c:y val="-4.8717614294592031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 662</a:t>
                    </a:r>
                    <a:endParaRPr lang="en-US" b="1" dirty="0">
                      <a:solidFill>
                        <a:schemeClr val="accent5">
                          <a:lumMod val="7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2198705054282792E-3"/>
                  <c:y val="-6.3332898582969546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 82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16:$AC$16</c:f>
              <c:numCache>
                <c:formatCode>General</c:formatCode>
                <c:ptCount val="4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  <c:extLst/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88600576"/>
        <c:axId val="88602112"/>
      </c:barChart>
      <c:catAx>
        <c:axId val="8860057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one"/>
        <c:crossAx val="88602112"/>
        <c:crosses val="autoZero"/>
        <c:auto val="1"/>
        <c:lblAlgn val="ctr"/>
        <c:lblOffset val="100"/>
        <c:noMultiLvlLbl val="0"/>
      </c:catAx>
      <c:valAx>
        <c:axId val="8860211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one"/>
        <c:crossAx val="88600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ялки - 8,1 </a:t>
            </a:r>
            <a:r>
              <a:rPr 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P$23</c:f>
              <c:strCache>
                <c:ptCount val="1"/>
                <c:pt idx="0">
                  <c:v>Стран СНГ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accent6">
                    <a:lumMod val="75000"/>
                  </a:schemeClr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23:$AC$23</c:f>
              <c:numCache>
                <c:formatCode>#,##0</c:formatCode>
                <c:ptCount val="4"/>
                <c:pt idx="0">
                  <c:v>822</c:v>
                </c:pt>
                <c:pt idx="1">
                  <c:v>1020.65</c:v>
                </c:pt>
                <c:pt idx="2">
                  <c:v>1219.3</c:v>
                </c:pt>
                <c:pt idx="3">
                  <c:v>1417.95</c:v>
                </c:pt>
              </c:numCache>
              <c:extLst/>
            </c:numRef>
          </c:val>
        </c:ser>
        <c:ser>
          <c:idx val="1"/>
          <c:order val="1"/>
          <c:tx>
            <c:strRef>
              <c:f>Лист1!$P$24</c:f>
              <c:strCache>
                <c:ptCount val="1"/>
                <c:pt idx="0">
                  <c:v>Стран ДЗ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24:$AC$24</c:f>
              <c:numCache>
                <c:formatCode>#,##0</c:formatCode>
                <c:ptCount val="4"/>
                <c:pt idx="0">
                  <c:v>548</c:v>
                </c:pt>
                <c:pt idx="1">
                  <c:v>411</c:v>
                </c:pt>
                <c:pt idx="2">
                  <c:v>274</c:v>
                </c:pt>
                <c:pt idx="3">
                  <c:v>137</c:v>
                </c:pt>
              </c:numCache>
              <c:extLst/>
            </c:numRef>
          </c:val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2228357452579464E-3"/>
                  <c:y val="-3.896729010495474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 37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8709112631193395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 432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5.358002389431273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 49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1816927889119758E-16"/>
                  <c:y val="-5.358002389431273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 555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25:$AC$25</c:f>
              <c:numCache>
                <c:formatCode>General</c:formatCode>
                <c:ptCount val="4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  <c:extLst/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89784704"/>
        <c:axId val="89786240"/>
      </c:barChart>
      <c:catAx>
        <c:axId val="8978470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one"/>
        <c:crossAx val="89786240"/>
        <c:crosses val="autoZero"/>
        <c:auto val="1"/>
        <c:lblAlgn val="ctr"/>
        <c:lblOffset val="100"/>
        <c:noMultiLvlLbl val="0"/>
      </c:catAx>
      <c:valAx>
        <c:axId val="8978624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one"/>
        <c:crossAx val="89784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120" normalizeH="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есное</a:t>
            </a:r>
            <a:r>
              <a:rPr lang="ru-RU" sz="1200" baseline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орудование</a:t>
            </a:r>
          </a:p>
          <a:p>
            <a:pPr>
              <a:defRPr sz="1200" b="1" i="0" u="none" strike="noStrike" kern="1200" cap="all" spc="120" normalizeH="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aseline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9,4 млрд. тенге</a:t>
            </a:r>
            <a:endParaRPr lang="ru-RU" sz="12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9373384817282455"/>
          <c:y val="1.1324142401090722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P$32</c:f>
              <c:strCache>
                <c:ptCount val="1"/>
                <c:pt idx="0">
                  <c:v>Стран СНГ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32:$AC$32</c:f>
              <c:numCache>
                <c:formatCode>#,##0</c:formatCode>
                <c:ptCount val="4"/>
                <c:pt idx="0">
                  <c:v>1696</c:v>
                </c:pt>
                <c:pt idx="1">
                  <c:v>2406.6666666666633</c:v>
                </c:pt>
                <c:pt idx="2">
                  <c:v>3116.8309178744007</c:v>
                </c:pt>
                <c:pt idx="3">
                  <c:v>3826.9951690821272</c:v>
                </c:pt>
              </c:numCache>
              <c:extLst/>
            </c:numRef>
          </c:val>
        </c:ser>
        <c:ser>
          <c:idx val="1"/>
          <c:order val="1"/>
          <c:tx>
            <c:strRef>
              <c:f>Лист1!$P$33</c:f>
              <c:strCache>
                <c:ptCount val="1"/>
                <c:pt idx="0">
                  <c:v>Стран ДЗ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33:$AC$33</c:f>
              <c:numCache>
                <c:formatCode>#,##0</c:formatCode>
                <c:ptCount val="4"/>
                <c:pt idx="0">
                  <c:v>1131</c:v>
                </c:pt>
                <c:pt idx="1">
                  <c:v>848.1</c:v>
                </c:pt>
                <c:pt idx="2">
                  <c:v>565.4</c:v>
                </c:pt>
                <c:pt idx="3">
                  <c:v>282.7</c:v>
                </c:pt>
              </c:numCache>
              <c:extLst/>
            </c:numRef>
          </c:val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5555555555555558E-3"/>
                  <c:y val="-4.6296296296296419E-2"/>
                </c:manualLayout>
              </c:layout>
              <c:tx>
                <c:rich>
                  <a:bodyPr/>
                  <a:lstStyle/>
                  <a:p>
                    <a:r>
                      <a:rPr lang="en-US" b="1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 827</a:t>
                    </a:r>
                    <a:endParaRPr lang="en-US" b="1" dirty="0">
                      <a:solidFill>
                        <a:schemeClr val="accent5">
                          <a:lumMod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7777777777777835E-3"/>
                  <c:y val="-5.092592592592605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 255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4.166666666666666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 682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0185067526416028E-16"/>
                  <c:y val="-5.555555555555546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4 110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Lit>
              <c:ptCount val="4"/>
              <c:pt idx="0">
                <c:v>3</c:v>
              </c:pt>
              <c:pt idx="1">
                <c:v>6</c:v>
              </c:pt>
              <c:pt idx="2">
                <c:v>9</c:v>
              </c:pt>
              <c:pt idx="3">
                <c:v>1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Лист1!$P$34:$AC$34</c:f>
              <c:numCache>
                <c:formatCode>General</c:formatCode>
                <c:ptCount val="4"/>
                <c:pt idx="0" formatCode="#,##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  <c:extLst/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93061504"/>
        <c:axId val="93063040"/>
      </c:barChart>
      <c:catAx>
        <c:axId val="9306150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one"/>
        <c:crossAx val="93063040"/>
        <c:crosses val="autoZero"/>
        <c:auto val="1"/>
        <c:lblAlgn val="ctr"/>
        <c:lblOffset val="100"/>
        <c:noMultiLvlLbl val="0"/>
      </c:catAx>
      <c:valAx>
        <c:axId val="9306304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one"/>
        <c:crossAx val="93061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231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4271" y="0"/>
            <a:ext cx="4302231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1190AB-E038-49D8-8110-E8A61E55D987}" type="datetimeFigureOut">
              <a:rPr lang="ru-RU" smtClean="0"/>
              <a:t>05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435350" y="849313"/>
            <a:ext cx="3057525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71382"/>
            <a:ext cx="7942580" cy="267658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2231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4271" y="6456219"/>
            <a:ext cx="4302231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2024D-AF8A-49BE-8D94-EEAFCB7A9C4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1117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71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871" indent="-28571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879" indent="-2285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030" indent="-2285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183" indent="-22857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334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486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639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789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92D473A-678A-4365-B25A-E94B956F2CE7}" type="slidenum">
              <a:rPr lang="ru-RU" altLang="ru-RU" smtClean="0"/>
              <a:pPr/>
              <a:t>0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5803583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716" indent="-28604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177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850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9521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7191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4862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2534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90205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9EC50883-BC0A-4845-8A52-CDE096E77F92}" type="slidenum">
              <a:rPr lang="ru-RU" altLang="ru-RU">
                <a:solidFill>
                  <a:srgbClr val="000000"/>
                </a:solidFill>
              </a:rPr>
              <a:pPr/>
              <a:t>1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894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716" indent="-28604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177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850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9521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7191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4862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2534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90205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9EC50883-BC0A-4845-8A52-CDE096E77F92}" type="slidenum">
              <a:rPr lang="ru-RU" altLang="ru-RU">
                <a:solidFill>
                  <a:srgbClr val="000000"/>
                </a:solidFill>
              </a:rPr>
              <a:pPr/>
              <a:t>1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183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716" indent="-28604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4177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850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9521" indent="-22883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7191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4862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2534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90205" indent="-22883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9EC50883-BC0A-4845-8A52-CDE096E77F92}" type="slidenum">
              <a:rPr lang="ru-RU" altLang="ru-RU">
                <a:solidFill>
                  <a:srgbClr val="000000"/>
                </a:solidFill>
              </a:rPr>
              <a:pPr/>
              <a:t>1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5647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0223" y="5258311"/>
            <a:ext cx="6239901" cy="24405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94840" y="9409885"/>
            <a:ext cx="85283" cy="183042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116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32024D-AF8A-49BE-8D94-EEAFCB7A9C4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82090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32024D-AF8A-49BE-8D94-EEAFCB7A9C4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8209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32024D-AF8A-49BE-8D94-EEAFCB7A9C4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82090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0405" indent="-28092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23702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73183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22663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72144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21625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71105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20587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D02EC4E-4F69-4EE8-8C6B-9A7E40967AD4}" type="slidenum">
              <a:rPr lang="ru-RU" altLang="ru-RU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199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0405" indent="-28092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23702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73183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22663" indent="-22473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72144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21625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71105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20587" indent="-2247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D02EC4E-4F69-4EE8-8C6B-9A7E40967AD4}" type="slidenum">
              <a:rPr lang="ru-RU" altLang="ru-RU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199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7336" indent="-283592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34365" indent="-226872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88111" indent="-226872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41856" indent="-226872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95603" indent="-226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49349" indent="-226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03094" indent="-226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56841" indent="-2268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D02EC4E-4F69-4EE8-8C6B-9A7E40967AD4}" type="slidenum">
              <a:rPr lang="ru-RU" altLang="ru-RU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388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57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5013" indent="-28257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1888" indent="-2254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84325" indent="-2254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36763" indent="-22542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493963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1163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08363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65563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E2BB06C7-4F61-4343-A8FA-01BA6498A94B}" type="slidenum">
              <a:rPr lang="ru-RU" altLang="ru-RU" smtClean="0">
                <a:solidFill>
                  <a:srgbClr val="000000"/>
                </a:solidFill>
                <a:latin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 smtClean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9744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2261" y="5298924"/>
            <a:ext cx="6263432" cy="24594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20089" y="9482561"/>
            <a:ext cx="85605" cy="184455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877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5196D-AEFA-4DE4-95AD-C91E2E6154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A512C5-459F-433F-AEEC-14184CDC5B3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0210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74A364-7B3E-4295-9679-B2B7931C6E4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F90D17-DA88-4A53-95C0-2DCFD273BBD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6330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9D8EB-43C1-440B-9858-6B831E009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D1414B-8500-4EFD-AED8-232C4FE503E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7185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0276D-6179-4E9B-A8FD-D372A2EC75D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CF7F6-08BE-44CF-B29C-E35DD360EDA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785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6F46F-0E7D-4040-BF2D-2CC83C96A6CC}" type="datetime1">
              <a:rPr lang="en-US" smtClean="0"/>
              <a:t>12/5/201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3938240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802A9-0DFA-4F7B-B4B2-EB701FA6C2FA}" type="datetime1">
              <a:rPr lang="en-US" smtClean="0"/>
              <a:t>12/5/201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13406736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D9D56A-C65F-4E32-BD9B-2CD09E3EA0D8}" type="datetime1">
              <a:rPr lang="en-US" smtClean="0"/>
              <a:t>12/5/201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3277950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9430E-478B-4872-AAE0-DE96FD8CED83}" type="datetime1">
              <a:rPr lang="en-US" smtClean="0"/>
              <a:t>12/5/2016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1850317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FE21BD-99B2-433C-9ADD-15B5B0BA23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C41958-3DF8-4B03-AB92-ADDCB0E623D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7047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8B3B1E7-E358-4B19-B290-C7642F41EF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3B12B55-6AB4-40F1-83D5-8F4CF66062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430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70071-3B1E-4BC0-A5BB-9867B2631588}" type="datetime1">
              <a:rPr lang="en-US" smtClean="0"/>
              <a:t>12/5/201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3905659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9992F-EE63-4EAA-B64B-398106B1EE8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D1F82D-109E-4F56-B10B-515509E9012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0494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938A6-596A-4D63-BB3B-DB67E9CB64F5}" type="datetime1">
              <a:rPr lang="en-US" smtClean="0"/>
              <a:t>12/5/2016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22069386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654C2-0999-4536-ACAB-74C85F9F8486}" type="datetime1">
              <a:rPr lang="en-US" smtClean="0"/>
              <a:t>12/5/201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3966840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42310-AD62-4DC8-A34D-EC9D40FFFE8C}" type="datetime1">
              <a:rPr lang="en-US" smtClean="0"/>
              <a:t>12/5/201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2632886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3E6340-C5AB-40D1-B0B0-7A3F38D30DD7}" type="datetime1">
              <a:rPr lang="en-US" smtClean="0"/>
              <a:t>12/5/201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rgbClr val="0F0F0F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spc="40" dirty="0"/>
              <a:t>‹#›</a:t>
            </a:fld>
            <a:endParaRPr spc="4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54961F-FDD0-4B62-A8EA-B8E516D278E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78151B-DC49-48BE-9665-2CEF23E0B5F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19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89B30-749C-436B-B329-C8A7AC79024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2877CD-8479-4FE1-8B5C-657CE74EF6C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06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342343-887C-42AE-A56A-433E696549C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41D57-7276-4D35-8CB3-F2F7F29C3BA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75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C3C4E-EBA9-46C4-BC66-0F481914D9D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C41958-3DF8-4B03-AB92-ADDCB0E623D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0513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20DFA-C538-4837-B3A3-2CB1506D8E4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B12B55-6AB4-40F1-83D5-8F4CF660627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705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7A97E7-58D4-4D4A-87E2-D2FB3DCB9E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F6E38-320E-4BBE-9E69-67558B97669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511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A4035-1DC8-4F9F-8666-0037550BF25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EE79E9-8EA2-44D0-8604-E4A89B88FAE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030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9CB452E-2C6E-4916-BED5-E197D17908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5/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073D9C8-F4EC-416E-9AD0-0BEF1163044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02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EA626-E923-48CA-845F-30A98C40D291}" type="datetime1">
              <a:rPr lang="en-US" smtClean="0"/>
              <a:t>12/5/2016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/>
              <a:t>‹#›</a:t>
            </a:fld>
            <a:endParaRPr lang="ru-RU" spc="40" dirty="0"/>
          </a:p>
        </p:txBody>
      </p:sp>
    </p:spTree>
    <p:extLst>
      <p:ext uri="{BB962C8B-B14F-4D97-AF65-F5344CB8AC3E}">
        <p14:creationId xmlns:p14="http://schemas.microsoft.com/office/powerpoint/2010/main" val="420458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9.xml"/><Relationship Id="rId9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539750" y="1524000"/>
            <a:ext cx="8353425" cy="40322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новых направлениях государственной поддержки агропромышленного комплекса и перспективах повышения конкурентоспособности отечественного агробизнеса</a:t>
            </a:r>
            <a:endParaRPr lang="ru-RU" sz="3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47" name="TextBox 13"/>
          <p:cNvSpPr txBox="1">
            <a:spLocks noChangeArrowheads="1"/>
          </p:cNvSpPr>
          <p:nvPr/>
        </p:nvSpPr>
        <p:spPr bwMode="auto">
          <a:xfrm>
            <a:off x="0" y="188913"/>
            <a:ext cx="91440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сельского хозяйства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и Казахстан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816447" y="1085850"/>
            <a:ext cx="360045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1830158" y="1301750"/>
            <a:ext cx="568801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71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6"/>
          <p:cNvSpPr txBox="1">
            <a:spLocks noChangeArrowheads="1"/>
          </p:cNvSpPr>
          <p:nvPr/>
        </p:nvSpPr>
        <p:spPr bwMode="auto">
          <a:xfrm>
            <a:off x="155575" y="731838"/>
            <a:ext cx="8813800" cy="1560512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defRPr/>
            </a:pPr>
            <a:r>
              <a:rPr lang="ru-RU" dirty="0" smtClean="0">
                <a:solidFill>
                  <a:schemeClr val="bg1"/>
                </a:solidFill>
              </a:rPr>
              <a:t>Смена приоритетов кредитной </a:t>
            </a:r>
            <a:r>
              <a:rPr lang="ru-RU" dirty="0">
                <a:solidFill>
                  <a:schemeClr val="bg1"/>
                </a:solidFill>
              </a:rPr>
              <a:t>политики </a:t>
            </a:r>
            <a:r>
              <a:rPr lang="ru-RU" altLang="ru-RU" dirty="0">
                <a:solidFill>
                  <a:schemeClr val="bg1"/>
                </a:solidFill>
              </a:rPr>
              <a:t>АО «НУХ «КазАгро</a:t>
            </a:r>
            <a:r>
              <a:rPr lang="ru-RU" altLang="ru-RU" dirty="0" smtClean="0">
                <a:solidFill>
                  <a:schemeClr val="bg1"/>
                </a:solidFill>
              </a:rPr>
              <a:t>» на:</a:t>
            </a:r>
          </a:p>
          <a:p>
            <a:pPr marL="87313" indent="-87313" algn="l"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chemeClr val="bg1"/>
                </a:solidFill>
              </a:rPr>
              <a:t>микрокредитование МСБ;</a:t>
            </a:r>
          </a:p>
          <a:p>
            <a:pPr marL="87313" indent="-87313" algn="l"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chemeClr val="bg1"/>
                </a:solidFill>
              </a:rPr>
              <a:t>финансирование сельхозкооперативов;</a:t>
            </a:r>
          </a:p>
          <a:p>
            <a:pPr marL="87313" indent="-87313" algn="l"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chemeClr val="bg1"/>
                </a:solidFill>
              </a:rPr>
              <a:t>лизинг доступной техники стран СНГ и отечественного производства с заключением соглашений по увеличению локализации;</a:t>
            </a:r>
          </a:p>
          <a:p>
            <a:pPr marL="87313" indent="-87313" algn="l"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chemeClr val="bg1"/>
                </a:solidFill>
              </a:rPr>
              <a:t>привязку кредитования СХТП к загрузке перерабатывающих предприятий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6" name="TextBox 6"/>
          <p:cNvSpPr txBox="1">
            <a:spLocks noChangeArrowheads="1"/>
          </p:cNvSpPr>
          <p:nvPr/>
        </p:nvSpPr>
        <p:spPr bwMode="auto">
          <a:xfrm>
            <a:off x="192088" y="4540250"/>
            <a:ext cx="4065587" cy="1074738"/>
          </a:xfrm>
          <a:prstGeom prst="rect">
            <a:avLst/>
          </a:prstGeom>
          <a:ln w="19050"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Через КазАгро выдано 203 млрд. тенге для 15 тыс. заемщиков. </a:t>
            </a:r>
          </a:p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среднем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0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% прямого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инансирования приходится на 1% заемщиков</a:t>
            </a:r>
            <a:endParaRPr lang="ru-RU" alt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6"/>
          <p:cNvSpPr txBox="1">
            <a:spLocks noChangeArrowheads="1"/>
          </p:cNvSpPr>
          <p:nvPr/>
        </p:nvSpPr>
        <p:spPr bwMode="auto">
          <a:xfrm>
            <a:off x="155575" y="3356992"/>
            <a:ext cx="8813800" cy="727075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defRPr/>
            </a:pPr>
            <a:r>
              <a:rPr lang="ru-RU" dirty="0" smtClean="0">
                <a:solidFill>
                  <a:schemeClr val="bg1"/>
                </a:solidFill>
              </a:rPr>
              <a:t>Расширение фондирования КТ, МФО, лизинговых компаний и БВУ с условием увеличения количества конечных заемщиков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7" name="TextBox 6"/>
          <p:cNvSpPr txBox="1">
            <a:spLocks noChangeArrowheads="1"/>
          </p:cNvSpPr>
          <p:nvPr/>
        </p:nvSpPr>
        <p:spPr bwMode="auto">
          <a:xfrm>
            <a:off x="155575" y="2492896"/>
            <a:ext cx="8813800" cy="727075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defRPr/>
            </a:pPr>
            <a:r>
              <a:rPr lang="ru-RU" dirty="0" smtClean="0">
                <a:solidFill>
                  <a:schemeClr val="bg1"/>
                </a:solidFill>
              </a:rPr>
              <a:t>Обеспечение автоматизации, прозрачности и упрощения процесса принятия и </a:t>
            </a:r>
            <a:r>
              <a:rPr lang="ru-RU" dirty="0">
                <a:solidFill>
                  <a:schemeClr val="bg1"/>
                </a:solidFill>
              </a:rPr>
              <a:t>рассмотрения заявок </a:t>
            </a:r>
            <a:r>
              <a:rPr lang="ru-RU" dirty="0" smtClean="0">
                <a:solidFill>
                  <a:schemeClr val="bg1"/>
                </a:solidFill>
              </a:rPr>
              <a:t>СХТП в </a:t>
            </a:r>
            <a:r>
              <a:rPr lang="ru-RU" dirty="0">
                <a:solidFill>
                  <a:schemeClr val="bg1"/>
                </a:solidFill>
              </a:rPr>
              <a:t>электронном </a:t>
            </a:r>
            <a:r>
              <a:rPr lang="ru-RU" dirty="0" smtClean="0">
                <a:solidFill>
                  <a:schemeClr val="bg1"/>
                </a:solidFill>
              </a:rPr>
              <a:t>форма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560213" y="4032250"/>
            <a:ext cx="113883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50000"/>
              </a:lnSpc>
              <a:defRPr/>
            </a:pPr>
            <a:r>
              <a:rPr lang="ru-RU" alt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015 год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6442568" y="4033838"/>
            <a:ext cx="1138838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50000"/>
              </a:lnSpc>
              <a:defRPr/>
            </a:pPr>
            <a:r>
              <a:rPr lang="ru-RU" alt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021 год</a:t>
            </a:r>
          </a:p>
        </p:txBody>
      </p:sp>
      <p:sp>
        <p:nvSpPr>
          <p:cNvPr id="52" name="TextBox 6"/>
          <p:cNvSpPr txBox="1">
            <a:spLocks noChangeArrowheads="1"/>
          </p:cNvSpPr>
          <p:nvPr/>
        </p:nvSpPr>
        <p:spPr bwMode="auto">
          <a:xfrm>
            <a:off x="4857750" y="4540250"/>
            <a:ext cx="4100513" cy="1074738"/>
          </a:xfrm>
          <a:prstGeom prst="rect">
            <a:avLst/>
          </a:prstGeom>
          <a:ln w="19050"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Будет выдано 300 млрд. тенге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ля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5 тыс.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заемщиков с равномерным распределением кредитов между заемщиками</a:t>
            </a:r>
            <a:endParaRPr lang="ru-RU" altLang="ru-RU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3" name="TextBox 6"/>
          <p:cNvSpPr txBox="1">
            <a:spLocks noChangeArrowheads="1"/>
          </p:cNvSpPr>
          <p:nvPr/>
        </p:nvSpPr>
        <p:spPr bwMode="auto">
          <a:xfrm>
            <a:off x="201613" y="5762625"/>
            <a:ext cx="4065587" cy="755650"/>
          </a:xfrm>
          <a:prstGeom prst="rect">
            <a:avLst/>
          </a:prstGeom>
          <a:ln w="19050"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Через КТ выдано 35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млрд. тенге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ля 3,3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тыс.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участников. </a:t>
            </a:r>
            <a:b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сего участников КТ – 12,5 тыс. </a:t>
            </a:r>
            <a:endParaRPr lang="ru-RU" alt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6"/>
          <p:cNvSpPr txBox="1">
            <a:spLocks noChangeArrowheads="1"/>
          </p:cNvSpPr>
          <p:nvPr/>
        </p:nvSpPr>
        <p:spPr bwMode="auto">
          <a:xfrm>
            <a:off x="4857750" y="5762625"/>
            <a:ext cx="4100513" cy="755650"/>
          </a:xfrm>
          <a:prstGeom prst="rect">
            <a:avLst/>
          </a:prstGeom>
          <a:ln w="19050"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Будет выдано 70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млрд. тенге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ля 8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тыс.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участников (рост в 2,5 раза). </a:t>
            </a:r>
            <a:b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Количество участников – 20 тыс.</a:t>
            </a:r>
            <a:endParaRPr lang="ru-RU" alt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6" name="Прямая со стрелкой 55"/>
          <p:cNvCxnSpPr>
            <a:stCxn id="36" idx="3"/>
            <a:endCxn id="52" idx="1"/>
          </p:cNvCxnSpPr>
          <p:nvPr/>
        </p:nvCxnSpPr>
        <p:spPr>
          <a:xfrm>
            <a:off x="4257675" y="5078413"/>
            <a:ext cx="600075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stCxn id="53" idx="3"/>
            <a:endCxn id="54" idx="1"/>
          </p:cNvCxnSpPr>
          <p:nvPr/>
        </p:nvCxnSpPr>
        <p:spPr>
          <a:xfrm>
            <a:off x="4267200" y="6140450"/>
            <a:ext cx="59055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0" y="5709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2000" b="1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КРЕДИТНАЯ ПОЛИТИКА АО «НУХ «КАЗАГРО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10400" y="6483349"/>
            <a:ext cx="2133600" cy="365125"/>
          </a:xfrm>
        </p:spPr>
        <p:txBody>
          <a:bodyPr/>
          <a:lstStyle/>
          <a:p>
            <a:pPr>
              <a:defRPr/>
            </a:pPr>
            <a:fld id="{03B12B55-6AB4-40F1-83D5-8F4CF660627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9</a:t>
            </a:fld>
            <a:endParaRPr lang="ru-RU" sz="1600" b="1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100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8064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ПОВЫШЕНИЕ ЭФФЕКТИВНОСТИ ЖИВОТНОВОДСТВА НА 40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%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020972" y="3542456"/>
            <a:ext cx="5830922" cy="1752601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олока с 1,2 до 1,8 млн. т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яса птицы с 146 до 220 тыс. т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овядины с  416 до 500 тыс. т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ранины с 144 до 180 тыс. т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винины с 1,2 до 1,8 млн. т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020972" y="2264031"/>
            <a:ext cx="5830923" cy="114799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овядины с 6,5 до 70 тыс. т. 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ранины с 100 до 10 000 т.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винины с 2 до 10 тыс. т.</a:t>
            </a:r>
            <a:endParaRPr lang="ru-RU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020974" y="757005"/>
            <a:ext cx="5830923" cy="137659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бикормов в 2 раза  с 1,2 до  2,5 млн. га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ощади обводненных пастбищ в 1,4 раза </a:t>
            </a:r>
            <a:br>
              <a:rPr lang="ru-RU" sz="175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75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47 до 65 млн. га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оли племенных животных в  2 раза</a:t>
            </a:r>
            <a:endParaRPr lang="ru-RU" sz="175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600" y="757005"/>
            <a:ext cx="2620930" cy="137659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УВЕЛИЧЕНИЕ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ОИЗВОДСТВА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7311" y="2281006"/>
            <a:ext cx="2620930" cy="113101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0805" marR="5080" indent="-78740" algn="ctr">
              <a:lnSpc>
                <a:spcPct val="105600"/>
              </a:lnSpc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УВЕЛИЧЕНИЕ</a:t>
            </a:r>
          </a:p>
          <a:p>
            <a:pPr marL="90805" marR="5080" indent="-78740" algn="ctr">
              <a:lnSpc>
                <a:spcPct val="105600"/>
              </a:lnSpc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ЭКСПОРТА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17311" y="3559431"/>
            <a:ext cx="2632219" cy="170336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0805" marR="5080" indent="-78740" algn="ctr">
              <a:lnSpc>
                <a:spcPct val="105600"/>
              </a:lnSpc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УВЕЛИЧЕНИЕ 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ЕРЕРАБОТКИ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020972" y="5428310"/>
            <a:ext cx="5830923" cy="121920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яса птицы с 161 до 80 тыс. т.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ясных изделий с 38 до 13 тыс. т.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олпродукты с 29 до 20  тыс. т.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17311" y="5410200"/>
            <a:ext cx="2632219" cy="121920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0805" marR="5080" indent="-78740" algn="ctr">
              <a:lnSpc>
                <a:spcPct val="105600"/>
              </a:lnSpc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СНИЖЕНИЕ ИМПОРТ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889739" y="6526742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10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4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13179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ОВЫШЕНИЕ ЭФФЕКТИВНОСТИ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РАСТЕНИЕВОДСТВА НА 30%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047785" y="2674558"/>
            <a:ext cx="5830924" cy="2418286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харной свеклы на 1 074 тыс. т.             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вса на 236 тыс. т.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сла растительного на 481 тыс. т.          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укурузы на 257 тыс. т.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ячменя на 1,2 млн. т.              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хара на 107 тыс. т.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сличных  на 1 млн. т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047786" y="5252806"/>
            <a:ext cx="5830923" cy="137659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сла растительного с 160 до 80  тыс. т.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одоовощной продукции с  99 до 62 тыс. т. 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ахар с 185 до 75 тыс. т.</a:t>
            </a:r>
            <a:endParaRPr lang="ru-RU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047785" y="609603"/>
            <a:ext cx="5791414" cy="190499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величение внесения минудобрений в 1,5 раза с 11 до 16%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именения качественных  семян  в 2 раза с  3 до  6%</a:t>
            </a:r>
          </a:p>
          <a:p>
            <a:pPr marL="355600" indent="-3556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75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т темпов обновления  техники в 2  раза с 1,5 до 3%</a:t>
            </a:r>
            <a:endParaRPr lang="ru-RU" sz="175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600" y="609602"/>
            <a:ext cx="2589177" cy="1904997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КРАЩЕНИЕ ПШЕНИЦЫ И УВЕЛИЧЕНИЕ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Р. КУЛЬТУР НА </a:t>
            </a:r>
            <a:b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,3 МЛН. ГА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30010" y="2674556"/>
            <a:ext cx="2620930" cy="241828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0805" marR="5080" indent="-78740" algn="ctr">
              <a:lnSpc>
                <a:spcPct val="105600"/>
              </a:lnSpc>
            </a:pPr>
            <a:r>
              <a:rPr lang="ru-RU" sz="1900" b="1" dirty="0">
                <a:latin typeface="Arial" pitchFamily="34" charset="0"/>
                <a:cs typeface="Arial" pitchFamily="34" charset="0"/>
              </a:rPr>
              <a:t>УВЕЛИЧЕНИЕ  ПРОИЗВОДСТВ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28600" y="5252806"/>
            <a:ext cx="2622340" cy="1376594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0805" marR="5080" indent="-78740" algn="ctr">
              <a:lnSpc>
                <a:spcPct val="105600"/>
              </a:lnSpc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СНИЖЕНИЕ ИМПОРТ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941955" y="6498519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11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74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2251892"/>
              </p:ext>
            </p:extLst>
          </p:nvPr>
        </p:nvGraphicFramePr>
        <p:xfrm>
          <a:off x="325002" y="1094989"/>
          <a:ext cx="4163680" cy="2023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2408693"/>
              </p:ext>
            </p:extLst>
          </p:nvPr>
        </p:nvGraphicFramePr>
        <p:xfrm>
          <a:off x="4625354" y="1095196"/>
          <a:ext cx="4156034" cy="2038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8539988"/>
              </p:ext>
            </p:extLst>
          </p:nvPr>
        </p:nvGraphicFramePr>
        <p:xfrm>
          <a:off x="335887" y="3260063"/>
          <a:ext cx="4152210" cy="2261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4420440"/>
              </p:ext>
            </p:extLst>
          </p:nvPr>
        </p:nvGraphicFramePr>
        <p:xfrm>
          <a:off x="4609929" y="3260306"/>
          <a:ext cx="4175150" cy="2279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778703" y="1490597"/>
            <a:ext cx="962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год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62292" y="3592016"/>
            <a:ext cx="962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год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2001" y="1524855"/>
            <a:ext cx="962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год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0181" y="3517098"/>
            <a:ext cx="962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 год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23"/>
          <p:cNvSpPr>
            <a:spLocks noChangeArrowheads="1"/>
          </p:cNvSpPr>
          <p:nvPr/>
        </p:nvSpPr>
        <p:spPr bwMode="auto">
          <a:xfrm>
            <a:off x="118921" y="6080322"/>
            <a:ext cx="90419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87313" lvl="1" algn="ctr"/>
            <a:r>
              <a:rPr lang="ru-RU" altLang="ru-RU" sz="1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риобретении техники из </a:t>
            </a:r>
            <a:r>
              <a:rPr lang="ru-RU" alt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 СНГ </a:t>
            </a:r>
            <a:r>
              <a:rPr lang="ru-RU" altLang="ru-RU" sz="1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ту </a:t>
            </a:r>
            <a:r>
              <a:rPr lang="ru-RU" alt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 сумму </a:t>
            </a:r>
            <a:r>
              <a:rPr lang="ru-RU" altLang="ru-RU" sz="1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приобрести больше </a:t>
            </a:r>
            <a:r>
              <a:rPr lang="ru-RU" alt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50-70</a:t>
            </a:r>
            <a:r>
              <a:rPr lang="ru-RU" altLang="ru-RU" sz="1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.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593030" y="2921570"/>
            <a:ext cx="3600812" cy="283731"/>
            <a:chOff x="727042" y="2908909"/>
            <a:chExt cx="3417328" cy="287530"/>
          </a:xfrm>
        </p:grpSpPr>
        <p:sp>
          <p:nvSpPr>
            <p:cNvPr id="20" name="TextBox 19"/>
            <p:cNvSpPr txBox="1"/>
            <p:nvPr/>
          </p:nvSpPr>
          <p:spPr>
            <a:xfrm>
              <a:off x="727042" y="2908909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/6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643717" y="2911183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/7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574039" y="2913457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/8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477065" y="2915731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/9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4880702" y="2937492"/>
            <a:ext cx="3600812" cy="283731"/>
            <a:chOff x="727042" y="2908909"/>
            <a:chExt cx="3417328" cy="287530"/>
          </a:xfrm>
        </p:grpSpPr>
        <p:sp>
          <p:nvSpPr>
            <p:cNvPr id="45" name="TextBox 44"/>
            <p:cNvSpPr txBox="1"/>
            <p:nvPr/>
          </p:nvSpPr>
          <p:spPr>
            <a:xfrm>
              <a:off x="727042" y="2908909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/6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643717" y="2911183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/7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574039" y="2913457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/8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477065" y="2915731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/9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608953" y="5325850"/>
            <a:ext cx="3600812" cy="283731"/>
            <a:chOff x="727042" y="2908909"/>
            <a:chExt cx="3417328" cy="287530"/>
          </a:xfrm>
        </p:grpSpPr>
        <p:sp>
          <p:nvSpPr>
            <p:cNvPr id="50" name="TextBox 49"/>
            <p:cNvSpPr txBox="1"/>
            <p:nvPr/>
          </p:nvSpPr>
          <p:spPr>
            <a:xfrm>
              <a:off x="727042" y="2908909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/6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643717" y="2911183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/7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574039" y="2913457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/8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3477065" y="2915731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/9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4894351" y="5339498"/>
            <a:ext cx="3600812" cy="283731"/>
            <a:chOff x="727042" y="2908909"/>
            <a:chExt cx="3417328" cy="287530"/>
          </a:xfrm>
        </p:grpSpPr>
        <p:sp>
          <p:nvSpPr>
            <p:cNvPr id="55" name="TextBox 54"/>
            <p:cNvSpPr txBox="1"/>
            <p:nvPr/>
          </p:nvSpPr>
          <p:spPr>
            <a:xfrm>
              <a:off x="727042" y="2908909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/6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643717" y="2911183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/7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2574039" y="2913457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/8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477065" y="2915731"/>
              <a:ext cx="667305" cy="2807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2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/90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3605059" y="5492159"/>
            <a:ext cx="9850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 ДЗ</a:t>
            </a:r>
            <a:endParaRPr lang="ru-RU" sz="14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553218" y="5625581"/>
            <a:ext cx="93662" cy="74451"/>
          </a:xfrm>
          <a:prstGeom prst="rect">
            <a:avLst/>
          </a:prstGeom>
          <a:solidFill>
            <a:srgbClr val="8FCAF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630915" y="5494434"/>
            <a:ext cx="1118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 СНГ</a:t>
            </a:r>
            <a:endParaRPr lang="ru-RU" sz="14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4579074" y="5627856"/>
            <a:ext cx="93662" cy="74451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3030" y="152400"/>
            <a:ext cx="80937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МЕРЫ</a:t>
            </a:r>
          </a:p>
          <a:p>
            <a:pPr algn="ctr">
              <a:defRPr/>
            </a:pPr>
            <a:r>
              <a:rPr lang="ru-RU" sz="2000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вышению технической вооруженности субъектов АПК</a:t>
            </a:r>
            <a:endParaRPr lang="ru-RU" sz="20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482534"/>
            <a:ext cx="2057400" cy="365125"/>
          </a:xfrm>
        </p:spPr>
        <p:txBody>
          <a:bodyPr/>
          <a:lstStyle/>
          <a:p>
            <a:pPr>
              <a:defRPr/>
            </a:pPr>
            <a:fld id="{5CC41958-3DF8-4B03-AB92-ADDCB0E623D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2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1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268245" y="3526977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внешних рынков, поиск экспортных ниш </a:t>
            </a:r>
            <a:b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ХТП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68244" y="4405091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зонтичных брендов, включая </a:t>
            </a:r>
            <a:b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Z Organic Food</a:t>
            </a:r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265714" y="914533"/>
            <a:ext cx="2612571" cy="1030853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spcAft>
                <a:spcPts val="600"/>
              </a:spcAft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НЫЙ ЦЕНТР АПК</a:t>
            </a:r>
          </a:p>
          <a:p>
            <a:pPr marL="0" lvl="1" algn="ctr">
              <a:spcAft>
                <a:spcPts val="600"/>
              </a:spcAft>
              <a:defRPr/>
            </a:pPr>
            <a:r>
              <a:rPr lang="ru-RU" altLang="ru-RU" sz="14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базе</a:t>
            </a:r>
            <a:endParaRPr lang="en-US" altLang="ru-RU" sz="14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ctr">
              <a:spcAft>
                <a:spcPts val="600"/>
              </a:spcAft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КОРПОРАЦИИ</a:t>
            </a:r>
            <a:endParaRPr lang="en-US" altLang="ru-RU" sz="1400" b="1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15841" y="1805617"/>
            <a:ext cx="1905000" cy="565032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en-US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ZNEX</a:t>
            </a:r>
            <a:endParaRPr lang="ru-RU" altLang="ru-RU" sz="1400" b="1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ctr">
              <a:defRPr/>
            </a:pPr>
            <a:r>
              <a:rPr lang="ru-RU" altLang="ru-RU" sz="14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ный блок</a:t>
            </a:r>
            <a:endParaRPr lang="en-US" altLang="ru-RU" sz="14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0924" y="1418255"/>
            <a:ext cx="1402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</a:t>
            </a:r>
            <a:endParaRPr lang="ru-RU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Соединительная линия уступом 19"/>
          <p:cNvCxnSpPr>
            <a:stCxn id="15" idx="3"/>
            <a:endCxn id="10" idx="1"/>
          </p:cNvCxnSpPr>
          <p:nvPr/>
        </p:nvCxnSpPr>
        <p:spPr>
          <a:xfrm flipV="1">
            <a:off x="2020841" y="1429960"/>
            <a:ext cx="1244873" cy="65817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кругленный прямоугольник 21"/>
          <p:cNvSpPr/>
          <p:nvPr/>
        </p:nvSpPr>
        <p:spPr>
          <a:xfrm>
            <a:off x="268244" y="5301348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ые миссии, выставки, ярмарки за рубежом </a:t>
            </a:r>
            <a:b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ХТП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334518" y="4405091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ктация с зарубежными покупателями и торговыми сетями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414791" y="4405091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ещение 50% затрат СХТП на рекламу и логистику (экспортные гранты)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334518" y="3526977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 покупателей и определение требований к продукции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015341" y="2139306"/>
            <a:ext cx="3113316" cy="710920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убежные представительства на целевых рынках</a:t>
            </a:r>
          </a:p>
          <a:p>
            <a:pPr marL="0" lvl="1" algn="ctr">
              <a:defRPr/>
            </a:pPr>
            <a:r>
              <a:rPr lang="ru-RU" altLang="ru-RU" sz="12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настоящее время в РФ)</a:t>
            </a:r>
            <a:endParaRPr lang="en-US" altLang="ru-RU" sz="1200" i="1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1" name="Прямая со стрелкой 40"/>
          <p:cNvCxnSpPr>
            <a:stCxn id="10" idx="2"/>
            <a:endCxn id="39" idx="0"/>
          </p:cNvCxnSpPr>
          <p:nvPr/>
        </p:nvCxnSpPr>
        <p:spPr>
          <a:xfrm flipH="1">
            <a:off x="4571999" y="1945386"/>
            <a:ext cx="1" cy="19392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7102088" y="1805617"/>
            <a:ext cx="1905000" cy="565032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КазАгроГарант»</a:t>
            </a:r>
            <a:endParaRPr lang="en-US" altLang="ru-RU" sz="14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Соединительная линия уступом 42"/>
          <p:cNvCxnSpPr>
            <a:stCxn id="42" idx="1"/>
            <a:endCxn id="10" idx="3"/>
          </p:cNvCxnSpPr>
          <p:nvPr/>
        </p:nvCxnSpPr>
        <p:spPr>
          <a:xfrm rot="10800000">
            <a:off x="5878286" y="1429961"/>
            <a:ext cx="1223803" cy="65817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/>
        </p:nvSpPr>
        <p:spPr>
          <a:xfrm>
            <a:off x="3334518" y="5301348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вардный закуп у СХТП и экспорт – создание </a:t>
            </a:r>
            <a:r>
              <a:rPr lang="ru-RU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НЫХ КАНАЛОВ</a:t>
            </a:r>
            <a:endParaRPr lang="ru-RU" sz="1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6414791" y="3526977"/>
            <a:ext cx="2474959" cy="714830"/>
          </a:xfrm>
          <a:prstGeom prst="roundRect">
            <a:avLst>
              <a:gd name="adj" fmla="val 897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ое финансирование и страхование экспортных контрактов СХТП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7739358" y="5370294"/>
            <a:ext cx="1281775" cy="565032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Ь </a:t>
            </a:r>
            <a:b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Ц / ТЛЦ</a:t>
            </a:r>
            <a:endParaRPr lang="en-US" altLang="ru-RU" sz="14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6025135" y="5370294"/>
            <a:ext cx="1281775" cy="565032"/>
          </a:xfrm>
          <a:prstGeom prst="roundRect">
            <a:avLst>
              <a:gd name="adj" fmla="val 8180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ru-RU" alt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ТП</a:t>
            </a:r>
            <a:endParaRPr lang="en-US" altLang="ru-RU" sz="1400" kern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48500" y="3439889"/>
            <a:ext cx="2725330" cy="2670628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3192422" y="3439889"/>
            <a:ext cx="2725330" cy="2670628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289605" y="3439889"/>
            <a:ext cx="2725330" cy="1767121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22397" y="3193025"/>
            <a:ext cx="21993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ная поддержка СХТП</a:t>
            </a:r>
            <a:endParaRPr lang="ru-RU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49560" y="3193025"/>
            <a:ext cx="23995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ные каналы для СХТП</a:t>
            </a:r>
            <a:endParaRPr lang="ru-RU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476970" y="3193025"/>
            <a:ext cx="23321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поддержка СХТП</a:t>
            </a:r>
            <a:endParaRPr lang="ru-RU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660578" y="6087858"/>
            <a:ext cx="34424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крупных экспортных партий и экспорт по налаженным каналам сбыта</a:t>
            </a:r>
            <a:endParaRPr lang="ru-RU" sz="1200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4" name="Прямая со стрелкой 83"/>
          <p:cNvCxnSpPr>
            <a:stCxn id="26" idx="2"/>
            <a:endCxn id="23" idx="0"/>
          </p:cNvCxnSpPr>
          <p:nvPr/>
        </p:nvCxnSpPr>
        <p:spPr>
          <a:xfrm>
            <a:off x="4571998" y="4241807"/>
            <a:ext cx="0" cy="163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>
            <a:stCxn id="23" idx="2"/>
            <a:endCxn id="47" idx="0"/>
          </p:cNvCxnSpPr>
          <p:nvPr/>
        </p:nvCxnSpPr>
        <p:spPr>
          <a:xfrm>
            <a:off x="4571998" y="5119921"/>
            <a:ext cx="0" cy="1814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58" idx="3"/>
            <a:endCxn id="57" idx="1"/>
          </p:cNvCxnSpPr>
          <p:nvPr/>
        </p:nvCxnSpPr>
        <p:spPr>
          <a:xfrm>
            <a:off x="7306910" y="5652810"/>
            <a:ext cx="432448" cy="0"/>
          </a:xfrm>
          <a:prstGeom prst="straightConnector1">
            <a:avLst/>
          </a:prstGeom>
          <a:ln w="285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7267514" y="1412067"/>
            <a:ext cx="1574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функционал</a:t>
            </a:r>
            <a:endParaRPr lang="ru-RU" sz="12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Соединительная линия уступом 32"/>
          <p:cNvCxnSpPr/>
          <p:nvPr/>
        </p:nvCxnSpPr>
        <p:spPr>
          <a:xfrm rot="10800000" flipV="1">
            <a:off x="2020843" y="1550566"/>
            <a:ext cx="1244872" cy="689968"/>
          </a:xfrm>
          <a:prstGeom prst="bentConnector3">
            <a:avLst>
              <a:gd name="adj1" fmla="val 3979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0" y="5709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ЕЛЕНАПРАВЛЕННАЯ ЭКСПОРТНАЯ ПОЛИТИ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00512" y="6475291"/>
            <a:ext cx="2133600" cy="365125"/>
          </a:xfrm>
        </p:spPr>
        <p:txBody>
          <a:bodyPr/>
          <a:lstStyle/>
          <a:p>
            <a:fld id="{3F7CF7F6-08BE-44CF-B29C-E35DD360EDAE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974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2667000" y="3376742"/>
            <a:ext cx="6302828" cy="264305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в оборот 610 тыс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г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мель регулярного орошения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в оборот 368 тыс. га земель лиманного орошения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 13 тыс. га коллекторно-дренажной сети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 42 аварийных и строительство 22 новых водохранилищ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4428" y="3376742"/>
            <a:ext cx="2536372" cy="264305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ИЕ В ОБОРОТ ОРОШАЕМЫХ ЗЕМЕЛЬ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667000" y="804255"/>
            <a:ext cx="6302828" cy="216754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рокомасштабное почвенное обследование сельскохозяйственных земель и земель запаса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новой кадастровой стоимости земель с/х назначения</a:t>
            </a:r>
          </a:p>
          <a:p>
            <a:pPr marL="355600" indent="-3556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реальной базы данных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4427" y="804255"/>
            <a:ext cx="2536373" cy="216754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ЦИОНАЛЬНОЕ ИСПОЛЬЗОВАНИЕ ЗЕМЕЛЬНЫХ РЕСУРСОВ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19"/>
          <p:cNvSpPr txBox="1"/>
          <p:nvPr/>
        </p:nvSpPr>
        <p:spPr>
          <a:xfrm>
            <a:off x="0" y="76200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ГОСРЕГУЛИРОВАНИЯ АПК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836228" y="6447319"/>
            <a:ext cx="2133600" cy="365125"/>
          </a:xfrm>
        </p:spPr>
        <p:txBody>
          <a:bodyPr/>
          <a:lstStyle/>
          <a:p>
            <a:pPr>
              <a:defRPr/>
            </a:pPr>
            <a:fld id="{03B12B55-6AB4-40F1-83D5-8F4CF660627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4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41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90632" y="4091894"/>
            <a:ext cx="2324099" cy="105753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90631" y="5267060"/>
            <a:ext cx="2324100" cy="105656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ЩЕВАЯ БЕЗОПАСНОСТЬ</a:t>
            </a:r>
            <a:endParaRPr lang="en-US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514600" y="4091894"/>
            <a:ext cx="6542313" cy="1057539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епление обязанности СХТП по проведению химических обработок против особо опасных, вредных и карантинных организмо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514600" y="5267061"/>
            <a:ext cx="6542313" cy="1057539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уализация, разработка и унификация НПА и НТД в области техрегулирования безопасности пищевой продукц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4600" y="571579"/>
            <a:ext cx="6585855" cy="340631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ответственности владельцев скота за не проведение ветмероприятий</a:t>
            </a:r>
          </a:p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оценки эффективности деятельности ветеринарных подразделений МИО</a:t>
            </a:r>
          </a:p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прямой подчиненности отделов ветеринарии районов управлениям ветеринарии области</a:t>
            </a:r>
          </a:p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требований к ветеринарным организациям, созданным МИО</a:t>
            </a:r>
          </a:p>
          <a:p>
            <a:pPr marL="177800" indent="-177800" algn="just">
              <a:spcBef>
                <a:spcPts val="600"/>
              </a:spcBef>
              <a:buFont typeface="Arial" pitchFamily="34" charset="0"/>
              <a:buChar char="•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подотчетности ветврачей СХТП перед райотделами ветеринарии МИО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0631" y="571579"/>
            <a:ext cx="2331088" cy="333011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ТЕРИНАРИЯ</a:t>
            </a:r>
            <a:endParaRPr lang="en-US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9"/>
          <p:cNvSpPr txBox="1"/>
          <p:nvPr/>
        </p:nvSpPr>
        <p:spPr>
          <a:xfrm>
            <a:off x="0" y="73223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ГОСРЕГУЛИРОВАНИЯ АП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0631" y="4435997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ТОСАНИТАРИЯ</a:t>
            </a:r>
            <a:endParaRPr lang="en-US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20491" y="6442228"/>
            <a:ext cx="2133600" cy="365125"/>
          </a:xfrm>
        </p:spPr>
        <p:txBody>
          <a:bodyPr/>
          <a:lstStyle/>
          <a:p>
            <a:pPr>
              <a:defRPr/>
            </a:pPr>
            <a:fld id="{03B12B55-6AB4-40F1-83D5-8F4CF660627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5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4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2596241" y="2798460"/>
            <a:ext cx="6373586" cy="174171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двух агроцентров на базе КазАТУ им. Сейфуллина и КазНАУ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НИОКР по заказам производителей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 передовых апробированных технологий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знаний производителям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596241" y="4724400"/>
            <a:ext cx="6373586" cy="178200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роекта нового Закона РК «О личном подсобном хозяйстве»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ие изменений и дополнений в Земельный, Налоговый, Экологический и Предпринимательский кодексы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ие изменений и дополнений в отраслевые Зако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63283" y="2761054"/>
            <a:ext cx="2324100" cy="183468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ЦИЯ НАУКИ, ОБРАЗОВАНИЯ И ПРОИЗВОДСТВА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74170" y="4724400"/>
            <a:ext cx="2324100" cy="178200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НОРМАТИВНЫХ ПРАВОВЫХ АКТОВ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96241" y="474699"/>
            <a:ext cx="6373586" cy="2116102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стандартов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, оборота и сертификации органической   продукции  в  соответствии  с  международными нормами</a:t>
            </a:r>
          </a:p>
          <a:p>
            <a:pPr marL="177800" indent="-177800"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лабораторий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ции органической продукции по  международным нормам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52399" y="474699"/>
            <a:ext cx="2324100" cy="2116101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6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19"/>
          <p:cNvSpPr txBox="1"/>
          <p:nvPr/>
        </p:nvSpPr>
        <p:spPr>
          <a:xfrm>
            <a:off x="0" y="74954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ГОСРЕГУЛИРОВАНИЯ АП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63283" y="974860"/>
            <a:ext cx="2286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КАЗАХСТАНСКОГО БРЕНДА </a:t>
            </a:r>
          </a:p>
          <a:p>
            <a:pPr algn="ctr"/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ЧЕСКОЙ ПРОДУК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36227" y="6526163"/>
            <a:ext cx="2133600" cy="365125"/>
          </a:xfrm>
        </p:spPr>
        <p:txBody>
          <a:bodyPr/>
          <a:lstStyle/>
          <a:p>
            <a:pPr>
              <a:defRPr/>
            </a:pPr>
            <a:fld id="{03B12B55-6AB4-40F1-83D5-8F4CF660627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6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43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970622"/>
              </p:ext>
            </p:extLst>
          </p:nvPr>
        </p:nvGraphicFramePr>
        <p:xfrm>
          <a:off x="141518" y="693954"/>
          <a:ext cx="8904507" cy="5956296"/>
        </p:xfrm>
        <a:graphic>
          <a:graphicData uri="http://schemas.openxmlformats.org/drawingml/2006/table">
            <a:tbl>
              <a:tblPr/>
              <a:tblGrid>
                <a:gridCol w="500736"/>
                <a:gridCol w="2256432"/>
                <a:gridCol w="848359"/>
                <a:gridCol w="848359"/>
                <a:gridCol w="848359"/>
                <a:gridCol w="848359"/>
                <a:gridCol w="848359"/>
                <a:gridCol w="952772"/>
                <a:gridCol w="952772"/>
              </a:tblGrid>
              <a:tr h="18389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ПРАВЛЕНИЯ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ГПР АПК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ТОГО 2017-2019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ТОГО 2017-202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</a:tr>
              <a:tr h="1838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Растениеводство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0 57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3 36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5 54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4 68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9 21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59 48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293 3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Животноводство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9 52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5 82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1 10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7 15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1 73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26 45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365 34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Переработка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 36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 80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 07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 88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3 16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30 12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Финансовые инструменты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6 37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5 14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2 96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2 47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6 14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24 48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333 10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0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Уставной </a:t>
                      </a:r>
                      <a:r>
                        <a:rPr lang="ru-RU" sz="1400" b="0" i="0" u="none" strike="noStrike" dirty="0" smtClean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капитал</a:t>
                      </a:r>
                    </a:p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АО </a:t>
                      </a:r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«КазАгро»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9 2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4 14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43 36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Кредитование на ВПР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8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300 00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Ветеринария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4 35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3 9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4 15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2 92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5 92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72 43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161 27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Фитосанитария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8 95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8 38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9 56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 89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8 07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6 91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121 87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9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Земельные отношения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 44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 44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 44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3 60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4 55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 34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44 50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0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0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Научное и кадровое обеспечение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 40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6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6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 6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5 64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 32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13 58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67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ИТОГО АПК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3 99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9 36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9 23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49 65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74 31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982 59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 706 56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1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1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        в т.ч</a:t>
                      </a:r>
                      <a:r>
                        <a:rPr lang="ru-RU" sz="1400" b="0" i="1" u="none" strike="noStrike" dirty="0" smtClean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. субсидии </a:t>
                      </a:r>
                      <a:r>
                        <a:rPr lang="ru-RU" sz="1400" b="0" i="1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АПК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1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23 31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1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31 53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1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31 31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1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82 39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1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95 97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86 154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1 064 51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РБ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70 76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6 01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0 93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71 68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83 79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97 71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853 1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МБ (ТОХ)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53 23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3 34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8 30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77 97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90 52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84 8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853 38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0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1.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Управление водными ресурсами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6 75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1 87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4 06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5 46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 55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2 68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94 70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67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ВСЕГО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50 749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51 23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43 30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65 1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90 86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 045 28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 801 27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ЧАСТНЫЕ ИНВЕСТИЦИИ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53 41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95 3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40 2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87 15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27 35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889 01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1 703 51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СПРАВОЧНО: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АГРОБИЗНЕС 2020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3 99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9 36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329 238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982 59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982 597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РБ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70 76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6 01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0 93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97 71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497 71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89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МБ (ТОХ)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53 23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3 34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68 30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484 8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484 885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676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400" b="1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ГПУВР</a:t>
                      </a:r>
                    </a:p>
                  </a:txBody>
                  <a:tcPr marL="8149" marR="8149" marT="8149" marB="0" anchor="b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6 751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21 872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14 063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203764"/>
                          </a:solidFill>
                          <a:effectLst/>
                          <a:latin typeface="Arial" panose="020B0604020202020204" pitchFamily="34" charset="0"/>
                        </a:rPr>
                        <a:t>62 68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Arial" panose="020B0604020202020204" pitchFamily="34" charset="0"/>
                        </a:rPr>
                        <a:t>62 686</a:t>
                      </a:r>
                    </a:p>
                  </a:txBody>
                  <a:tcPr marL="8149" marR="8149" marT="8149" marB="0" anchor="ctr">
                    <a:lnL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4E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34200" y="6553200"/>
            <a:ext cx="2133600" cy="365125"/>
          </a:xfrm>
        </p:spPr>
        <p:txBody>
          <a:bodyPr/>
          <a:lstStyle/>
          <a:p>
            <a:pPr>
              <a:defRPr/>
            </a:pPr>
            <a:fld id="{5CC41958-3DF8-4B03-AB92-ADDCB0E623D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17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19"/>
          <p:cNvSpPr txBox="1"/>
          <p:nvPr/>
        </p:nvSpPr>
        <p:spPr>
          <a:xfrm>
            <a:off x="1" y="76200"/>
            <a:ext cx="914400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Е ОБЕСПЕЧЕНИЕ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Й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РАЗВИТИЯ АПК РК НА 2017-2021, тыс. тенге</a:t>
            </a:r>
            <a:endParaRPr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99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987357" y="628767"/>
            <a:ext cx="7470843" cy="6243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54125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УВЕЛИЧЕНИЕ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 1,3 РАЗА 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АЛОВОГО  ВЫПУСКА </a:t>
            </a:r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ЕЛЬХОЗПРОДУКЦИИ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,3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,3 Т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ЛН. </a:t>
            </a:r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НГЕ</a:t>
            </a:r>
            <a:endParaRPr lang="ru-RU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90599" y="1356877"/>
            <a:ext cx="7467601" cy="6243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257300" indent="-3175"/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ОСТ </a:t>
            </a: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50% </a:t>
            </a: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ИЗВОДИТЕЛЬНОСТИ </a:t>
            </a: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РУДА</a:t>
            </a:r>
          </a:p>
          <a:p>
            <a:pPr marL="1257300" indent="-3175"/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,2 МЛН. ДО 1,9 МЛН.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НГЕ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990599" y="2099932"/>
            <a:ext cx="7467601" cy="6243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254125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СТ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А 17%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ЭКСПОРТА 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 2,1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,5 МЛРД. ДОЛЛ. США</a:t>
            </a:r>
          </a:p>
          <a:p>
            <a:pPr marL="1254125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КРАЩЕНИЕ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А 17%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МПОРТА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 3,4ДО 2,8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РД.ДОЛЛ.США</a:t>
            </a:r>
            <a:endParaRPr lang="ru-RU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990599" y="2849035"/>
            <a:ext cx="7467601" cy="6243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252538" indent="1588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СШИРЕНИЕ 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0%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ОЩАДИ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РОШАЕМЫХ  ЗЕМЕЛЬ 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  1,4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 МЛН Г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990599" y="3623989"/>
            <a:ext cx="7467601" cy="6243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254125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АСШИРЕНИЕ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 7 РАЗ 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ХВАТА  СХТП  МЕРАМИ ГОСПОДДЕРЖКИ</a:t>
            </a:r>
          </a:p>
          <a:p>
            <a:pPr marL="893763" indent="360363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 67 ДО 500 ТЫС.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ХТП</a:t>
            </a:r>
            <a:endParaRPr lang="ru-RU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990599" y="4394358"/>
            <a:ext cx="7467601" cy="6243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254125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ОВЛЕЧЕНИ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500 ТЫСЯЧ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ЛПХ, МЕЛКИХ К(Ф)Х  В  СИСТЕМУ  СБЫТА  ПРОДУКЦИИ  ЧЕРЕЗ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ООПЕРАТИВЫ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990599" y="5158679"/>
            <a:ext cx="7467601" cy="62432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54125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УВЕЛИЧЕНИЕ ДОЛИ ПЕРЕРАБОТКИ СЕЛЬХОЗПРОДУКЦИИ  И ЗАГРУЗКИ  ПРЕДПРИЯТИЙ  ПО  ПЕРЕРАБОТКЕ 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 1,3 РАЗА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987356" y="5907782"/>
            <a:ext cx="7470843" cy="6243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254125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Т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ОЛЕЕ ЧЕМ В 3 РАЗА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БЪЕМОВ ЧАСТНЫХ ИНВЕСТИЦИЙ В ОТРАСЛЬ 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 134 МЛРД.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ТЕНГЕ ДО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27 МЛРД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НГЕ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5709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ФФЕКТ ОТ РЕАЛИЗАЦИИ  ПРОГРАММЫ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934200" y="6564381"/>
            <a:ext cx="2057400" cy="215444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-RU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Выноска со стрелкой вправо 1"/>
          <p:cNvSpPr/>
          <p:nvPr/>
        </p:nvSpPr>
        <p:spPr>
          <a:xfrm>
            <a:off x="97465" y="628767"/>
            <a:ext cx="1807535" cy="5903338"/>
          </a:xfrm>
          <a:prstGeom prst="rightArrowCallout">
            <a:avLst>
              <a:gd name="adj1" fmla="val 326596"/>
              <a:gd name="adj2" fmla="val 163298"/>
              <a:gd name="adj3" fmla="val 27321"/>
              <a:gd name="adj4" fmla="val 70780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tabLst>
                <a:tab pos="180975" algn="l"/>
              </a:tabLst>
            </a:pPr>
            <a:endParaRPr lang="ru-RU" sz="16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7465" y="2971993"/>
            <a:ext cx="18075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180975" algn="l"/>
              </a:tabLst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ЖИДАЕМЫЙ </a:t>
            </a:r>
            <a:endParaRPr lang="ru-RU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tabLst>
                <a:tab pos="180975" algn="l"/>
              </a:tabLst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ФФЕКТ 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tabLst>
                <a:tab pos="180975" algn="l"/>
              </a:tabLst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2021 ГОДУ </a:t>
            </a:r>
          </a:p>
        </p:txBody>
      </p:sp>
    </p:spTree>
    <p:extLst>
      <p:ext uri="{BB962C8B-B14F-4D97-AF65-F5344CB8AC3E}">
        <p14:creationId xmlns:p14="http://schemas.microsoft.com/office/powerpoint/2010/main" val="2391111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0" y="73223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ОСНОВНЫЕ СДЕРЖИВАЮЩИЕ ФАКТОРЫ РАЗВИТИЯ АПК</a:t>
            </a:r>
            <a:endParaRPr sz="20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52500" y="516750"/>
            <a:ext cx="8638998" cy="160962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R="5080" algn="ctr">
              <a:lnSpc>
                <a:spcPct val="107700"/>
              </a:lnSpc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Е ИСПОЛЬЗУЕТСЯ ОГРОМНЫЙ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УРС ЛПХ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МЕЛКИХ К(Ф)Х </a:t>
            </a:r>
          </a:p>
          <a:p>
            <a:pPr marR="5080" algn="ctr">
              <a:lnSpc>
                <a:spcPct val="107700"/>
              </a:lnSpc>
              <a:spcAft>
                <a:spcPts val="600"/>
              </a:spcAf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З-ЗА НЕРЕШЁННОСТИ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ОПРОСОВ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ГОТОВКИ И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БЫТА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ДУКЦИИ</a:t>
            </a:r>
          </a:p>
          <a:p>
            <a:pPr marR="5080" algn="ctr">
              <a:lnSpc>
                <a:spcPct val="107700"/>
              </a:lnSpc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МИ 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ИЗВОДИТСЯ  </a:t>
            </a: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70-90% 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ОЛОКА, МЯСА,  КАРТОФЕЛЯ, ПЛОДОВ  И ОВОЩЕЙ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52501" y="2379846"/>
            <a:ext cx="8638998" cy="160962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600"/>
              </a:spcAft>
            </a:pPr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ДОЛЯ ПЕРЕРАБОТКИ ПРОДУКЦИИ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АТЫВАЕТСЯ </a:t>
            </a:r>
            <a:r>
              <a:rPr lang="ru-RU" sz="14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</a:t>
            </a:r>
            <a:r>
              <a:rPr lang="ru-RU" sz="1400" b="1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 </a:t>
            </a:r>
            <a:r>
              <a:rPr lang="ru-RU" sz="14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А, </a:t>
            </a:r>
            <a:r>
              <a:rPr lang="ru-RU" sz="1400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КА, ПЛОДОВ </a:t>
            </a:r>
            <a:r>
              <a:rPr lang="ru-RU" sz="14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ВОЩЕЙ</a:t>
            </a:r>
          </a:p>
          <a:p>
            <a:pPr algn="ctr"/>
            <a:r>
              <a:rPr lang="ru-RU" sz="14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 ВСЕ ПЕРЕРАБАТЫВАЮЩИЕ  ЗАВОДЫ </a:t>
            </a:r>
            <a:r>
              <a:rPr lang="ru-RU" sz="1400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3 ЕД.) </a:t>
            </a:r>
            <a:r>
              <a:rPr lang="ru-RU" sz="1400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ГРУЖЕНЫ НА</a:t>
            </a:r>
            <a:r>
              <a:rPr lang="ru-RU" sz="1400" b="1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-60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52500" y="4242942"/>
            <a:ext cx="8638999" cy="231025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ЗБЫТОК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ИЗВОДСТВА ПШЕНИЦЫ  </a:t>
            </a:r>
            <a:endParaRPr lang="ru-RU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ЕЖЕГОДНЫЙ 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ЕХОДЯЩИЙ ОСТАТОК </a:t>
            </a: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-3 </a:t>
            </a:r>
            <a:r>
              <a:rPr lang="ru-RU" sz="1400" b="1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Н. </a:t>
            </a:r>
            <a:r>
              <a:rPr lang="ru-RU" sz="1400" b="1" i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</a:t>
            </a:r>
            <a:endParaRPr lang="ru-RU" sz="1400" i="1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ЕДОСТАТОК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ИЗВОДСТВА 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ОМБИКОРМОВ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1,3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Н. Т)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ЯЧМЕНЯ, КУКУРУЗЫ, КОРМОВЫХ И МАСЛИЧНЫХ  КУЛЬТУР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2,7 МЛН.Т)</a:t>
            </a:r>
          </a:p>
          <a:p>
            <a:pPr marL="16510" marR="5080" indent="2540" algn="ctr">
              <a:lnSpc>
                <a:spcPct val="107700"/>
              </a:lnSpc>
            </a:pP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ДЕРЖИВАЕТ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ЖИВОТНОВОДСТВ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934200" y="6492875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1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616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0" y="73223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ОСНОВНЫЕ СДЕРЖИВАЮЩИЕ ФАКТОРЫ РАЗВИТИЯ АПК</a:t>
            </a:r>
            <a:endParaRPr sz="20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28600" y="498575"/>
            <a:ext cx="8686800" cy="216842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600"/>
              </a:spcAf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ЭКСПОРТА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ЕНЕЕ  5%)</a:t>
            </a:r>
          </a:p>
          <a:p>
            <a:pPr algn="ctr"/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А, ЖИВОГО СКОТА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НОБОБОВЫХ,</a:t>
            </a:r>
          </a:p>
          <a:p>
            <a:pPr algn="ctr">
              <a:spcAft>
                <a:spcPts val="600"/>
              </a:spcAft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Ы 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  КОТОРЫХ  ПРЕВЫШАЮТ  ВНУТРЕННИЕ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</a:t>
            </a:r>
          </a:p>
          <a:p>
            <a:pPr algn="ctr">
              <a:spcAft>
                <a:spcPts val="600"/>
              </a:spcAf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 ДОЛЯ ИМПОРТА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40 ДО 90%)</a:t>
            </a:r>
          </a:p>
          <a:p>
            <a:pPr algn="ctr"/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, КОТОРУЮ 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ПРОИЗВОДИТЬ В СТРАНЕ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ХАРА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ВОЩНЫХ КОНСЕРВОВ,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НЫХ И МОЛПРОДУКТОВ,</a:t>
            </a:r>
          </a:p>
          <a:p>
            <a:pPr algn="ctr"/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ИТЕЛЬНОГО МАСЛА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А ПТИЦЫ</a:t>
            </a:r>
            <a:endParaRPr lang="ru-RU" sz="1400" i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28600" y="2820302"/>
            <a:ext cx="8686800" cy="10068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510" marR="5080" indent="2540" algn="ctr">
              <a:lnSpc>
                <a:spcPct val="107700"/>
              </a:lnSpc>
            </a:pPr>
            <a:r>
              <a:rPr lang="ru-RU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ЕВОСТРЕБОВАННАЯ, СЛАБАЯ АГРОНАУКА </a:t>
            </a: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 ОТСУТСТВИЕ </a:t>
            </a:r>
            <a:r>
              <a:rPr lang="ru-RU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ИСТЕМЫ ТРАНСФЕРТА </a:t>
            </a: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ИРОВЫХ </a:t>
            </a:r>
            <a:r>
              <a:rPr lang="ru-RU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ГРОТЕХНОЛОГИЙ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28600" y="3980473"/>
            <a:ext cx="8686800" cy="109514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СТЬ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ОДДЕРЖКИ</a:t>
            </a:r>
          </a:p>
          <a:p>
            <a:pPr algn="ctr"/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РЕДНЕМ </a:t>
            </a: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ОГО КРЕДИТОВАНИЯ КАЗАГРО ПРИХОДИТСЯ НА </a:t>
            </a: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ЕМЩИКОВ</a:t>
            </a:r>
          </a:p>
          <a:p>
            <a:pPr algn="ctr"/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ПОЛУЧАЮТ ТОЛЬКО </a:t>
            </a:r>
            <a:r>
              <a:rPr lang="ru-RU" sz="1400" b="1" i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ХТП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28600" y="5228920"/>
            <a:ext cx="8686800" cy="10068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510" marR="5080" indent="2540" algn="ctr">
              <a:lnSpc>
                <a:spcPct val="107700"/>
              </a:lnSpc>
            </a:pPr>
            <a:r>
              <a:rPr lang="ru-RU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АЛЬДО</a:t>
            </a:r>
          </a:p>
          <a:p>
            <a:pPr marL="16510" marR="5080" indent="2540" algn="ctr">
              <a:lnSpc>
                <a:spcPct val="107700"/>
              </a:lnSpc>
            </a:pP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ЭКСПОРТА (2,1) – ИМПОРТА (3,4</a:t>
            </a:r>
            <a:r>
              <a:rPr lang="ru-RU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6510" marR="5080" indent="2540" algn="ctr">
              <a:lnSpc>
                <a:spcPct val="107700"/>
              </a:lnSpc>
            </a:pPr>
            <a:r>
              <a:rPr lang="ru-R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ИНУС 1,3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РД. ДОЛЛ. 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Ш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934200" y="6492875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2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71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Скругленный прямоугольник 41"/>
          <p:cNvSpPr/>
          <p:nvPr/>
        </p:nvSpPr>
        <p:spPr>
          <a:xfrm>
            <a:off x="1608139" y="5200814"/>
            <a:ext cx="7383463" cy="59038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70" marR="5080" indent="-1905" algn="ctr">
              <a:lnSpc>
                <a:spcPct val="73800"/>
              </a:lnSpc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ВЕРШЕНСТВОВАНИЕ 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ОСУДАРСТВЕННОГО РЕГУЛИРОВАНИЯ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ПК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579555" y="1471066"/>
            <a:ext cx="7383463" cy="58633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ЕЛЬХОЗКООПЕРАЦИЯ ДЛЯ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ОЛЕЕ 500 ТЫСЯЧ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ЛПХ И МЕЛКИХ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(Ф)Х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0" y="73223"/>
            <a:ext cx="91440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ЦЕЛИ И </a:t>
            </a:r>
            <a:r>
              <a:rPr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АЧИ ГОСУДАРСТВЕННОЙ </a:t>
            </a: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ГРАММЫ</a:t>
            </a:r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1598605" y="4424731"/>
            <a:ext cx="7383463" cy="52826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5080" indent="-635" algn="ctr">
              <a:lnSpc>
                <a:spcPct val="101000"/>
              </a:lnSpc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ЦЕЛЕНАПРАВЛЕННАЯ ЭКСПОРТНАЯ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ЛИТИКА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ПРОДВИЖЕНИЕ БРЕНДА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РГАНИЧЕСКОЙ ПРОДУКЦИИ</a:t>
            </a:r>
            <a:endParaRPr lang="ru-RU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1608130" y="2209801"/>
            <a:ext cx="7383463" cy="685799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ФФЕКТИВНОСТЬ И ДОСТУПНОСТЬ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ГОСПОДДЕРЖКИ 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 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КСИМАЛЬНЫМ ОХВАТОМ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ХТП</a:t>
            </a: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1608131" y="3830106"/>
            <a:ext cx="7383463" cy="43709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ОВЫШЕНИЕ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ФФЕКТИВНОСТИ РАСТЕНИЕВОДСТВА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30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%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1608139" y="3073624"/>
            <a:ext cx="7383463" cy="50777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" marR="5080" indent="-5080" algn="ctr">
              <a:lnSpc>
                <a:spcPts val="1370"/>
              </a:lnSpc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ВЫШЕНИЕ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ЭФФЕКТИВНОСТИ ЖИВОТНОВОДСТВА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0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</a:t>
            </a: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1608138" y="506199"/>
            <a:ext cx="7383464" cy="66845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ПРОИЗВОДСТВА </a:t>
            </a: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ТРЕБОВАННОЙ НА РЫНКАХ КОНКУРЕНТОСПОСОБНОЙ ПРОДУКЦИИ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223506" y="506200"/>
            <a:ext cx="1148094" cy="66409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defRPr/>
            </a:pPr>
            <a:r>
              <a:rPr lang="ru-RU" alt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</a:p>
        </p:txBody>
      </p:sp>
      <p:sp>
        <p:nvSpPr>
          <p:cNvPr id="90" name="Скругленный прямоугольник 89"/>
          <p:cNvSpPr/>
          <p:nvPr/>
        </p:nvSpPr>
        <p:spPr>
          <a:xfrm rot="16200000">
            <a:off x="-1516618" y="3055380"/>
            <a:ext cx="4628349" cy="1148092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>
              <a:defRPr/>
            </a:pPr>
            <a:r>
              <a:rPr lang="ru-RU" altLang="ru-RU" sz="2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6934200" y="6467190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3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/>
          <p:cNvSpPr/>
          <p:nvPr/>
        </p:nvSpPr>
        <p:spPr>
          <a:xfrm>
            <a:off x="166712" y="5160654"/>
            <a:ext cx="8793759" cy="1528214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НЦЕПТУАЛЬНЫЙ ПОДХОД ГОСПРОГРАММЫ</a:t>
            </a:r>
          </a:p>
          <a:p>
            <a:pPr algn="ctr">
              <a:spcAft>
                <a:spcPts val="600"/>
              </a:spcAft>
            </a:pP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АСШТАБНОЕ РАЗВИТИЕ КООПЕРАТИВОВ ДЛЯ ИСПОЛЬЗОВАНИЯ </a:t>
            </a:r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ТЕНЦИАЛА ЛПХ 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 МЕЛКИХ К(Ф)Х КАК ОБЪЕКТИВНОГО  ФАКТОРА РОСТА  ПРОИЗВОДСТВА  И УРОВНЯ  ЖИЗНИ НА СЕЛЕ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ЧЕРЕЗ  КООПЕРАТИВЫ  В  СЕЛО  </a:t>
            </a:r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СТУПИТ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00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РД. ТЕНГЕ</a:t>
            </a:r>
            <a:r>
              <a:rPr lang="ru-RU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КАК ВЫРУЧКА  ЗА СЕЛЬХОЗПРОДУКЦИЮ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553200" y="3630427"/>
            <a:ext cx="2392959" cy="1394232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6553200" y="450847"/>
            <a:ext cx="2392960" cy="274501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199091" y="3992787"/>
            <a:ext cx="1876702" cy="102501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96798" y="1992029"/>
            <a:ext cx="1878996" cy="186953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221506" y="437675"/>
            <a:ext cx="1878996" cy="1421511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506043" y="437675"/>
            <a:ext cx="1634961" cy="459152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52400" y="437675"/>
            <a:ext cx="1627631" cy="458698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/>
          </a:p>
        </p:txBody>
      </p:sp>
      <p:sp>
        <p:nvSpPr>
          <p:cNvPr id="10" name="object 10"/>
          <p:cNvSpPr txBox="1"/>
          <p:nvPr/>
        </p:nvSpPr>
        <p:spPr>
          <a:xfrm>
            <a:off x="0" y="73223"/>
            <a:ext cx="913803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СЕЛЬХОЗКООПЕРАЦИЯ ДЛЯ СБЫТА </a:t>
            </a:r>
            <a:r>
              <a:rPr sz="20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И </a:t>
            </a:r>
            <a:r>
              <a:rPr sz="20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ЕРЕРАБОТКИ  ПРОДУКЦИИ</a:t>
            </a:r>
            <a:endParaRPr sz="20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09800" y="626382"/>
            <a:ext cx="1880108" cy="1154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РОДУКЦИЯ: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8255" algn="ctr">
              <a:spcBef>
                <a:spcPts val="5"/>
              </a:spcBef>
            </a:pPr>
            <a:r>
              <a:rPr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МОЛОКО</a:t>
            </a:r>
            <a:endParaRPr lang="ru-RU" sz="1400" i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8255" algn="ctr">
              <a:spcBef>
                <a:spcPts val="5"/>
              </a:spcBef>
            </a:pP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МЯСО</a:t>
            </a:r>
          </a:p>
          <a:p>
            <a:pPr marL="25400" algn="ctr"/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ПЛОДЫ</a:t>
            </a:r>
          </a:p>
          <a:p>
            <a:pPr marL="25400" algn="ctr"/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ОВОЩИ</a:t>
            </a:r>
            <a:endParaRPr sz="1400" i="1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642988" y="605061"/>
            <a:ext cx="2196211" cy="7432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algn="ctr">
              <a:lnSpc>
                <a:spcPct val="105000"/>
              </a:lnSpc>
            </a:pPr>
            <a:r>
              <a:rPr sz="16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РЕДПРИЯТИЯ </a:t>
            </a:r>
            <a:r>
              <a:rPr sz="16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О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6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ЕРЕРАБОТКЕ  </a:t>
            </a:r>
            <a:r>
              <a:rPr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(ЗАГРУЗКА%)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graphicFrame>
        <p:nvGraphicFramePr>
          <p:cNvPr id="15" name="objec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743120"/>
              </p:ext>
            </p:extLst>
          </p:nvPr>
        </p:nvGraphicFramePr>
        <p:xfrm>
          <a:off x="6553200" y="1496165"/>
          <a:ext cx="2392960" cy="10055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75465"/>
                <a:gridCol w="717495"/>
              </a:tblGrid>
              <a:tr h="220621">
                <a:tc>
                  <a:txBody>
                    <a:bodyPr/>
                    <a:lstStyle/>
                    <a:p>
                      <a:pPr marL="31750">
                        <a:lnSpc>
                          <a:spcPts val="1270"/>
                        </a:lnSpc>
                      </a:pPr>
                      <a:r>
                        <a:rPr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lang="ru-RU"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МОЛОКА</a:t>
                      </a:r>
                      <a:r>
                        <a:rPr sz="1400" i="1" spc="-1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45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sz="1400" i="1" spc="-4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152</a:t>
                      </a:r>
                      <a:r>
                        <a:rPr lang="ru-RU" sz="1400" i="1" spc="-4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4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400" i="1" spc="-4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400" i="1" spc="-4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ts val="1270"/>
                        </a:lnSpc>
                      </a:pPr>
                      <a:r>
                        <a:rPr sz="1400" i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64%</a:t>
                      </a:r>
                      <a:endParaRPr sz="140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</a:tr>
              <a:tr h="262699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i="1" spc="-12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lang="ru-RU" sz="1400" i="1" spc="-12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2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ПЛОДОВ  </a:t>
                      </a:r>
                      <a:r>
                        <a:rPr sz="1400" i="1" spc="-25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sz="1400" i="1" spc="-2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22</a:t>
                      </a:r>
                      <a:r>
                        <a:rPr lang="ru-RU" sz="1400" i="1" spc="-13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14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400" i="1" spc="-114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6034" marB="0"/>
                </a:tc>
                <a:tc>
                  <a:txBody>
                    <a:bodyPr/>
                    <a:lstStyle/>
                    <a:p>
                      <a:pPr marR="26034" algn="r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i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24%</a:t>
                      </a:r>
                      <a:endParaRPr sz="140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6034" marB="0"/>
                </a:tc>
              </a:tr>
              <a:tr h="262700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400" i="1" spc="-13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lang="ru-RU" sz="1400" i="1" spc="-13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3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МЯСА </a:t>
                      </a:r>
                      <a:r>
                        <a:rPr sz="1400" i="1" spc="-5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sz="1400" i="1" spc="-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148</a:t>
                      </a:r>
                      <a:r>
                        <a:rPr lang="ru-RU" sz="1400" i="1" spc="-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400" i="1" spc="-1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4765" marB="0"/>
                </a:tc>
                <a:tc>
                  <a:txBody>
                    <a:bodyPr/>
                    <a:lstStyle/>
                    <a:p>
                      <a:pPr marR="24130" algn="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400" i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61%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4765" marB="0"/>
                </a:tc>
              </a:tr>
              <a:tr h="259532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lang="ru-RU"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05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ОВОЩЕЙ </a:t>
                      </a:r>
                      <a:r>
                        <a:rPr sz="1400" i="1" spc="-5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(</a:t>
                      </a:r>
                      <a:r>
                        <a:rPr sz="1400" i="1" spc="-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5</a:t>
                      </a:r>
                      <a:r>
                        <a:rPr lang="ru-RU" sz="1400" i="1" spc="6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i="1" spc="-114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400" i="1" spc="-114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6034" marB="0"/>
                </a:tc>
                <a:tc>
                  <a:txBody>
                    <a:bodyPr/>
                    <a:lstStyle/>
                    <a:p>
                      <a:pPr marR="25400" algn="r">
                        <a:lnSpc>
                          <a:spcPct val="100000"/>
                        </a:lnSpc>
                        <a:spcBef>
                          <a:spcPts val="204"/>
                        </a:spcBef>
                      </a:pPr>
                      <a:r>
                        <a:rPr sz="1400" i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/>
                          <a:cs typeface="Arial"/>
                        </a:rPr>
                        <a:t>36%</a:t>
                      </a:r>
                      <a:endParaRPr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26034" marB="0"/>
                </a:tc>
              </a:tr>
            </a:tbl>
          </a:graphicData>
        </a:graphic>
      </p:graphicFrame>
      <p:sp>
        <p:nvSpPr>
          <p:cNvPr id="16" name="object 16"/>
          <p:cNvSpPr txBox="1"/>
          <p:nvPr/>
        </p:nvSpPr>
        <p:spPr>
          <a:xfrm>
            <a:off x="152400" y="1588464"/>
            <a:ext cx="1627630" cy="5668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b="1" dirty="0">
                <a:solidFill>
                  <a:schemeClr val="bg1"/>
                </a:solidFill>
                <a:latin typeface="Arial"/>
                <a:cs typeface="Arial"/>
              </a:rPr>
              <a:t>ЛПХ </a:t>
            </a:r>
            <a:r>
              <a:rPr sz="1600" dirty="0">
                <a:solidFill>
                  <a:schemeClr val="bg1"/>
                </a:solidFill>
                <a:latin typeface="Arial"/>
                <a:cs typeface="Arial"/>
              </a:rPr>
              <a:t>И МЕЛКИЕ</a:t>
            </a:r>
          </a:p>
          <a:p>
            <a:pPr marL="53340" algn="ctr">
              <a:lnSpc>
                <a:spcPct val="100000"/>
              </a:lnSpc>
              <a:spcBef>
                <a:spcPts val="95"/>
              </a:spcBef>
            </a:pPr>
            <a:r>
              <a:rPr b="1" dirty="0">
                <a:solidFill>
                  <a:schemeClr val="bg1"/>
                </a:solidFill>
                <a:latin typeface="Arial"/>
                <a:cs typeface="Arial"/>
              </a:rPr>
              <a:t>К(Ф)Х</a:t>
            </a:r>
            <a:endParaRPr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502639" y="1585517"/>
            <a:ext cx="1638365" cy="8797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R="29209" algn="ctr">
              <a:lnSpc>
                <a:spcPts val="2665"/>
              </a:lnSpc>
            </a:pPr>
            <a:r>
              <a:rPr lang="ru-RU" b="1" dirty="0" smtClean="0">
                <a:solidFill>
                  <a:schemeClr val="bg1"/>
                </a:solidFill>
                <a:latin typeface="Arial"/>
                <a:cs typeface="Arial"/>
              </a:rPr>
              <a:t>СХК</a:t>
            </a:r>
          </a:p>
          <a:p>
            <a:pPr marR="5080" algn="ctr">
              <a:lnSpc>
                <a:spcPts val="1645"/>
              </a:lnSpc>
            </a:pPr>
            <a:r>
              <a:rPr sz="1600" i="1" dirty="0" smtClean="0">
                <a:solidFill>
                  <a:schemeClr val="bg1"/>
                </a:solidFill>
                <a:latin typeface="Arial"/>
                <a:cs typeface="Arial"/>
              </a:rPr>
              <a:t>(</a:t>
            </a:r>
            <a:r>
              <a:rPr sz="1600" i="1" dirty="0">
                <a:solidFill>
                  <a:schemeClr val="bg1"/>
                </a:solidFill>
                <a:latin typeface="Arial"/>
                <a:cs typeface="Arial"/>
              </a:rPr>
              <a:t>НЕ МЕНЕЕ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59"/>
              </a:spcBef>
            </a:pPr>
            <a:r>
              <a:rPr sz="1600" i="1" dirty="0">
                <a:solidFill>
                  <a:schemeClr val="bg1"/>
                </a:solidFill>
                <a:latin typeface="Arial"/>
                <a:cs typeface="Arial"/>
              </a:rPr>
              <a:t>20 ЧЛЕНОВ</a:t>
            </a:r>
            <a:r>
              <a:rPr sz="1600" i="1" dirty="0" smtClean="0">
                <a:solidFill>
                  <a:schemeClr val="bg1"/>
                </a:solidFill>
                <a:latin typeface="Arial"/>
                <a:cs typeface="Arial"/>
              </a:rPr>
              <a:t>)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52400" y="2921540"/>
            <a:ext cx="163124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b="1" dirty="0">
                <a:solidFill>
                  <a:schemeClr val="bg1"/>
                </a:solidFill>
                <a:latin typeface="Arial"/>
                <a:cs typeface="Arial"/>
              </a:rPr>
              <a:t>БОЛЕЕ 500 ТЫС.</a:t>
            </a:r>
          </a:p>
        </p:txBody>
      </p:sp>
      <p:sp>
        <p:nvSpPr>
          <p:cNvPr id="19" name="object 19"/>
          <p:cNvSpPr txBox="1"/>
          <p:nvPr/>
        </p:nvSpPr>
        <p:spPr>
          <a:xfrm>
            <a:off x="6642988" y="2529960"/>
            <a:ext cx="2196211" cy="4893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5" marR="5080" algn="ctr">
              <a:lnSpc>
                <a:spcPct val="105700"/>
              </a:lnSpc>
            </a:pPr>
            <a:r>
              <a:rPr sz="15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ПОВЫШЕНИЕ ЗАГРУЗКИ  В 1,3 </a:t>
            </a:r>
            <a:r>
              <a:rPr sz="15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РАЗА</a:t>
            </a:r>
            <a:endParaRPr sz="1500" dirty="0">
              <a:solidFill>
                <a:schemeClr val="tx2">
                  <a:lumMod val="7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196674" y="2067567"/>
            <a:ext cx="1868526" cy="1767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7465" algn="ctr">
              <a:lnSpc>
                <a:spcPts val="1675"/>
              </a:lnSpc>
              <a:spcAft>
                <a:spcPts val="600"/>
              </a:spcAft>
            </a:pPr>
            <a:r>
              <a:rPr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УСЛУГИ: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170815">
              <a:lnSpc>
                <a:spcPts val="1375"/>
              </a:lnSpc>
              <a:tabLst>
                <a:tab pos="243204" algn="l"/>
              </a:tabLst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ВЕТЕРИНАРИЯ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262890" indent="-73660">
              <a:lnSpc>
                <a:spcPct val="100000"/>
              </a:lnSpc>
              <a:spcBef>
                <a:spcPts val="10"/>
              </a:spcBef>
              <a:buClr>
                <a:srgbClr val="2A2428"/>
              </a:buClr>
              <a:buFont typeface="Arial"/>
              <a:buChar char="-"/>
              <a:tabLst>
                <a:tab pos="263525" algn="l"/>
              </a:tabLst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ОСЕМЕНЕНИЕ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35"/>
              </a:spcBef>
            </a:pPr>
            <a:r>
              <a:rPr sz="1400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 </a:t>
            </a:r>
            <a:r>
              <a:rPr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КОРМОЗАГОТОВКА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25400" algn="ctr">
              <a:lnSpc>
                <a:spcPct val="100000"/>
              </a:lnSpc>
              <a:spcBef>
                <a:spcPts val="10"/>
              </a:spcBef>
            </a:pP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АГРОХИМИЯ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25400" algn="ctr">
              <a:lnSpc>
                <a:spcPct val="100000"/>
              </a:lnSpc>
              <a:spcBef>
                <a:spcPts val="10"/>
              </a:spcBef>
            </a:pP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ОБОРУДОВАНИЕ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R="6350" algn="ctr">
              <a:lnSpc>
                <a:spcPct val="100000"/>
              </a:lnSpc>
              <a:spcBef>
                <a:spcPts val="30"/>
              </a:spcBef>
            </a:pP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ТЕХНИКА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25400" algn="ctr">
              <a:lnSpc>
                <a:spcPct val="100000"/>
              </a:lnSpc>
              <a:spcBef>
                <a:spcPts val="30"/>
              </a:spcBef>
            </a:pP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-</a:t>
            </a:r>
            <a:r>
              <a:rPr lang="ru-RU"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ЛОГИСТИКА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502638" y="2926722"/>
            <a:ext cx="1638365" cy="8155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2700" algn="ctr">
              <a:lnSpc>
                <a:spcPct val="105700"/>
              </a:lnSpc>
            </a:pPr>
            <a:r>
              <a:rPr b="1" dirty="0">
                <a:solidFill>
                  <a:schemeClr val="bg1"/>
                </a:solidFill>
                <a:latin typeface="Arial"/>
                <a:cs typeface="Arial"/>
              </a:rPr>
              <a:t>БОЛЕЕ 1200  </a:t>
            </a:r>
            <a:r>
              <a:rPr sz="1600" i="1" dirty="0">
                <a:solidFill>
                  <a:schemeClr val="bg1"/>
                </a:solidFill>
                <a:latin typeface="Arial"/>
                <a:cs typeface="Arial"/>
              </a:rPr>
              <a:t>(</a:t>
            </a:r>
            <a:r>
              <a:rPr sz="1600" i="1" dirty="0" smtClean="0">
                <a:solidFill>
                  <a:schemeClr val="bg1"/>
                </a:solidFill>
                <a:latin typeface="Arial"/>
                <a:cs typeface="Arial"/>
              </a:rPr>
              <a:t>УВЕЛИЧЕНИЕ  </a:t>
            </a:r>
            <a:r>
              <a:rPr sz="1600" i="1" dirty="0">
                <a:solidFill>
                  <a:schemeClr val="bg1"/>
                </a:solidFill>
                <a:latin typeface="Arial"/>
                <a:cs typeface="Arial"/>
              </a:rPr>
              <a:t>В 2,5 РАЗА)</a:t>
            </a:r>
            <a:endParaRPr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198967" y="4240911"/>
            <a:ext cx="1888016" cy="4437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algn="ctr">
              <a:lnSpc>
                <a:spcPct val="100000"/>
              </a:lnSpc>
            </a:pPr>
            <a:r>
              <a:rPr sz="1400" b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КРЕДИТЫ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80"/>
              </a:spcBef>
            </a:pPr>
            <a:r>
              <a:rPr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(НОВЫЙ ПОДХОД)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553200" y="4029038"/>
            <a:ext cx="2370582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635" algn="ctr">
              <a:lnSpc>
                <a:spcPct val="99900"/>
              </a:lnSpc>
            </a:pPr>
            <a:r>
              <a:rPr sz="16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ТОРГОВЛЯ</a:t>
            </a:r>
            <a:endParaRPr lang="ru-RU" sz="1600" b="1" dirty="0" smtClean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12700" marR="5080" indent="-635" algn="ctr">
              <a:lnSpc>
                <a:spcPct val="99900"/>
              </a:lnSpc>
            </a:pP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СНИЖЕНИЕ ТОРГОВОЙ</a:t>
            </a:r>
            <a:r>
              <a:rPr lang="ru-RU"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400" i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НАЦЕНКИ  </a:t>
            </a:r>
            <a:r>
              <a:rPr sz="1400" i="1" dirty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НА 15-20%</a:t>
            </a:r>
            <a:endParaRPr sz="1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3" name="Стрелка вправо 42"/>
          <p:cNvSpPr/>
          <p:nvPr/>
        </p:nvSpPr>
        <p:spPr>
          <a:xfrm>
            <a:off x="6161623" y="1005111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6990319" y="6496668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mtClean="0">
                <a:solidFill>
                  <a:schemeClr val="tx2">
                    <a:lumMod val="75000"/>
                  </a:schemeClr>
                </a:solidFill>
              </a:rPr>
              <a:t>4</a:t>
            </a:fld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 rot="5400000">
            <a:off x="7561647" y="3218482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6154759" y="4261598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 вправо 44"/>
          <p:cNvSpPr/>
          <p:nvPr/>
        </p:nvSpPr>
        <p:spPr>
          <a:xfrm>
            <a:off x="1811611" y="1005111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право 45"/>
          <p:cNvSpPr/>
          <p:nvPr/>
        </p:nvSpPr>
        <p:spPr>
          <a:xfrm>
            <a:off x="4104197" y="1005111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трелка вправо 46"/>
          <p:cNvSpPr/>
          <p:nvPr/>
        </p:nvSpPr>
        <p:spPr>
          <a:xfrm rot="10800000">
            <a:off x="1805571" y="2569463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право 51"/>
          <p:cNvSpPr/>
          <p:nvPr/>
        </p:nvSpPr>
        <p:spPr>
          <a:xfrm rot="10800000">
            <a:off x="1790645" y="4261598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 вправо 52"/>
          <p:cNvSpPr/>
          <p:nvPr/>
        </p:nvSpPr>
        <p:spPr>
          <a:xfrm rot="10800000">
            <a:off x="4097359" y="4261598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3"/>
          <p:cNvSpPr/>
          <p:nvPr/>
        </p:nvSpPr>
        <p:spPr>
          <a:xfrm rot="10800000">
            <a:off x="4097359" y="2569463"/>
            <a:ext cx="398441" cy="402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29"/>
          <p:cNvSpPr/>
          <p:nvPr/>
        </p:nvSpPr>
        <p:spPr>
          <a:xfrm>
            <a:off x="252500" y="1066801"/>
            <a:ext cx="8638998" cy="1371599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R="5080" algn="ctr">
              <a:lnSpc>
                <a:spcPct val="107700"/>
              </a:lnSpc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15 ГОД</a:t>
            </a:r>
          </a:p>
          <a:p>
            <a:pPr marR="5080" algn="ctr">
              <a:lnSpc>
                <a:spcPct val="107700"/>
              </a:lnSpc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67 ТЫС.ПОЛУЧАТЕЛЕЙ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</a:p>
          <a:p>
            <a:pPr marR="5080" algn="ctr">
              <a:lnSpc>
                <a:spcPct val="107700"/>
              </a:lnSpc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НА 1 ТЕНГЕ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УБСИДИЙ 7,5 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НГЕ ПРОДУКЦИИ</a:t>
            </a:r>
          </a:p>
          <a:p>
            <a:pPr marR="5080" algn="ctr">
              <a:lnSpc>
                <a:spcPct val="107700"/>
              </a:lnSpc>
            </a:pPr>
            <a:endParaRPr lang="ru-RU" sz="1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81076" y="2733775"/>
            <a:ext cx="8638998" cy="160962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ГО 56 ВИДОВ</a:t>
            </a:r>
          </a:p>
          <a:p>
            <a:pPr algn="ctr">
              <a:spcAft>
                <a:spcPts val="600"/>
              </a:spcAft>
            </a:pPr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СКЛЮЧЕНИЕ  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ВИДОВ</a:t>
            </a:r>
          </a:p>
          <a:p>
            <a:pPr algn="ctr">
              <a:spcAft>
                <a:spcPts val="600"/>
              </a:spcAft>
            </a:pPr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ЗМЕНЕНИЕКРИТЕРИЕВ  </a:t>
            </a:r>
            <a:r>
              <a:rPr lang="ru-RU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 </a:t>
            </a:r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ОВ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52500" y="4648200"/>
            <a:ext cx="8638999" cy="129540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21 ГОД</a:t>
            </a:r>
          </a:p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500 ТЫС. ПОЛУЧАТЕЛЕЙ,  </a:t>
            </a:r>
            <a:endParaRPr lang="ru-RU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6510" marR="5080" indent="2540" algn="ctr">
              <a:lnSpc>
                <a:spcPct val="107700"/>
              </a:lnSpc>
              <a:spcAft>
                <a:spcPts val="600"/>
              </a:spcAf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 ТЕНГЕ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УБСИДИЙ 13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НГЕ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ДУКЦИИ</a:t>
            </a:r>
            <a:endParaRPr lang="ru-RU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6934200" y="6492875"/>
            <a:ext cx="2133600" cy="365125"/>
          </a:xfrm>
        </p:spPr>
        <p:txBody>
          <a:bodyPr/>
          <a:lstStyle/>
          <a:p>
            <a:pPr marL="25400">
              <a:lnSpc>
                <a:spcPct val="100000"/>
              </a:lnSpc>
              <a:spcBef>
                <a:spcPts val="450"/>
              </a:spcBef>
            </a:pPr>
            <a:fld id="{81D60167-4931-47E6-BA6A-407CBD079E47}" type="slidenum">
              <a:rPr lang="ru-RU" spc="40" smtClean="0">
                <a:solidFill>
                  <a:schemeClr val="tx2">
                    <a:lumMod val="75000"/>
                  </a:schemeClr>
                </a:solidFill>
              </a:rPr>
              <a:t>5</a:t>
            </a:fld>
            <a:endParaRPr lang="ru-RU" spc="4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2501" y="206514"/>
            <a:ext cx="863899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ФФЕКТИВНОСТЬ И ДОСТУПНОСТЬ  ГОСПОДДЕРЖКИ  С  МАКСИМАЛЬНЫМ ОХВАТОМ СХТП</a:t>
            </a:r>
          </a:p>
        </p:txBody>
      </p:sp>
    </p:spTree>
    <p:extLst>
      <p:ext uri="{BB962C8B-B14F-4D97-AF65-F5344CB8AC3E}">
        <p14:creationId xmlns:p14="http://schemas.microsoft.com/office/powerpoint/2010/main" val="213650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86600" y="6611779"/>
            <a:ext cx="2133600" cy="246221"/>
          </a:xfrm>
        </p:spPr>
        <p:txBody>
          <a:bodyPr/>
          <a:lstStyle/>
          <a:p>
            <a:pPr algn="r"/>
            <a:fld id="{B19B0651-EE4F-4900-A07F-96A6BFA9D0F0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6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0" y="-76200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1600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ИЗМЕНЕНИЕ СУБСИДИРОВАНИЯ МЯСНОГО СКОТОВОДСТВА, 2017 ГОД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440484"/>
              </p:ext>
            </p:extLst>
          </p:nvPr>
        </p:nvGraphicFramePr>
        <p:xfrm>
          <a:off x="152400" y="228601"/>
          <a:ext cx="8839199" cy="6667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147"/>
                <a:gridCol w="1518653"/>
                <a:gridCol w="762000"/>
                <a:gridCol w="685800"/>
                <a:gridCol w="2538663"/>
                <a:gridCol w="966537"/>
                <a:gridCol w="661736"/>
                <a:gridCol w="1395663"/>
              </a:tblGrid>
              <a:tr h="263347">
                <a:tc rowSpan="2"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№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Действующая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схем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едлагаемая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схем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жидаемый эффект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570586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аправление 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орматив, тыс. </a:t>
                      </a:r>
                      <a:r>
                        <a:rPr lang="ru-RU" sz="11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умма,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млрд.  </a:t>
                      </a:r>
                      <a:r>
                        <a:rPr lang="ru-RU" sz="9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Критерий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орматив,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ыс. </a:t>
                      </a:r>
                      <a:r>
                        <a:rPr lang="ru-RU" sz="11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умма, 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млрд.  </a:t>
                      </a:r>
                      <a:r>
                        <a:rPr lang="ru-RU" sz="10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000" b="1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58445">
                <a:tc rowSpan="5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елекционно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племенная работа племенного КРС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20 за маточную голову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азовый</a:t>
                      </a:r>
                    </a:p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за маточную голову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,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10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Ориентация</a:t>
                      </a: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на конечный результат.</a:t>
                      </a:r>
                    </a:p>
                    <a:p>
                      <a:pPr algn="ctr"/>
                      <a:r>
                        <a:rPr lang="ru-RU" sz="1200" b="1" baseline="0" dirty="0" smtClean="0">
                          <a:latin typeface="Arial" pitchFamily="34" charset="0"/>
                          <a:cs typeface="Arial" pitchFamily="34" charset="0"/>
                        </a:rPr>
                        <a:t>Увеличение </a:t>
                      </a: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выхода приплода </a:t>
                      </a:r>
                    </a:p>
                    <a:p>
                      <a:pPr algn="ctr"/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с 68 до 78%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полни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льные: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 50-6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 60-70%)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 70% и выше)</a:t>
                      </a:r>
                      <a:endParaRPr lang="ru-RU" sz="115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8445">
                <a:tc rowSpan="5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елекционно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племенная работа товарного КРС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20 за маточную голову</a:t>
                      </a:r>
                    </a:p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4,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азовый </a:t>
                      </a:r>
                    </a:p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за маточную голову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1,2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полни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льные: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-6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 60-70%)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8445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и выходе приплода 70% и выше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844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купка 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еч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еменного КРС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54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6,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Без изменений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54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6,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Поддержка</a:t>
                      </a:r>
                    </a:p>
                    <a:p>
                      <a:pPr algn="ctr"/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отечественных репродукторов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844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купка заруб. племенного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РС 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18-200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,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Исключается 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rowSpan="7"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изводство говядин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00 </a:t>
                      </a:r>
                      <a:r>
                        <a:rPr lang="ru-RU" sz="12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н</a:t>
                      </a: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от</a:t>
                      </a:r>
                      <a:r>
                        <a:rPr lang="ru-RU" sz="105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3000 скотомест)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,1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от 30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5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5,1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Увеличение:</a:t>
                      </a:r>
                      <a:r>
                        <a:rPr lang="ru-RU" sz="1200" b="1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- объема в 7 раз </a:t>
                      </a:r>
                      <a:r>
                        <a:rPr lang="ru-RU" sz="1100" baseline="0" dirty="0" smtClean="0">
                          <a:latin typeface="Arial" pitchFamily="34" charset="0"/>
                          <a:cs typeface="Arial" pitchFamily="34" charset="0"/>
                        </a:rPr>
                        <a:t>(в 4 раза за счет СХК и в 2,6 раз за счет увеличения охвата)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- получателей в 3 раза  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2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2500-30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0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0 </a:t>
                      </a:r>
                      <a:r>
                        <a:rPr lang="ru-RU" sz="12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н</a:t>
                      </a: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от 3000 скотомест)</a:t>
                      </a: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2000-25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5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238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1500-20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0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0 </a:t>
                      </a:r>
                      <a:r>
                        <a:rPr lang="ru-RU" sz="12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н</a:t>
                      </a: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откорм 400 гол)</a:t>
                      </a: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1000-15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корм 100-1000 гол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7639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оперативы по убою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 го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334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держание быков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4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5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Без изменений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04 гол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,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844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ажа бычков на ОП от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3000 гол</a:t>
                      </a: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4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9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сключается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3347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6,4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7,6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439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86600" y="6629400"/>
            <a:ext cx="2133600" cy="246221"/>
          </a:xfrm>
        </p:spPr>
        <p:txBody>
          <a:bodyPr/>
          <a:lstStyle/>
          <a:p>
            <a:pPr algn="r"/>
            <a:fld id="{B19B0651-EE4F-4900-A07F-96A6BFA9D0F0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0" y="-33754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1600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ИЗМЕНЕНИЕ СУБСИДИРОВАНИЯ ОВЦЕВОДСТВА, 2017 ГОД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075035"/>
              </p:ext>
            </p:extLst>
          </p:nvPr>
        </p:nvGraphicFramePr>
        <p:xfrm>
          <a:off x="152401" y="228600"/>
          <a:ext cx="8839199" cy="6286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147"/>
                <a:gridCol w="1518653"/>
                <a:gridCol w="762000"/>
                <a:gridCol w="685800"/>
                <a:gridCol w="2538663"/>
                <a:gridCol w="966537"/>
                <a:gridCol w="762000"/>
                <a:gridCol w="1295399"/>
              </a:tblGrid>
              <a:tr h="246616">
                <a:tc rowSpan="2"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№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Действующая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схем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едлагаемая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схем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жидаемый эффект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83625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аправление 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орматив,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1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умма,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млрд.  </a:t>
                      </a:r>
                      <a:r>
                        <a:rPr lang="ru-RU" sz="9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Критерий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орматив, </a:t>
                      </a:r>
                    </a:p>
                    <a:p>
                      <a:pPr algn="ctr"/>
                      <a:r>
                        <a:rPr lang="ru-RU" sz="11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умма, 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млрд.  </a:t>
                      </a:r>
                      <a:r>
                        <a:rPr lang="ru-RU" sz="1000" b="1" dirty="0" err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тг</a:t>
                      </a:r>
                      <a:endParaRPr lang="ru-RU" sz="1000" b="1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04434">
                <a:tc rowSpan="3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елекционно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племенная работ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еменных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овец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500 за маточную голову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онкорунно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0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3,1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/>
                      <a:r>
                        <a:rPr lang="ru-RU" sz="1200" b="1" baseline="0" dirty="0" smtClean="0">
                          <a:latin typeface="Arial" pitchFamily="34" charset="0"/>
                          <a:cs typeface="Arial" pitchFamily="34" charset="0"/>
                        </a:rPr>
                        <a:t>Увеличение </a:t>
                      </a:r>
                    </a:p>
                    <a:p>
                      <a:pPr marL="0" indent="9525" algn="ctr">
                        <a:buFontTx/>
                        <a:buChar char="-"/>
                      </a:pPr>
                      <a:r>
                        <a:rPr lang="ru-RU" sz="1200" b="0" baseline="0" dirty="0" smtClean="0">
                          <a:latin typeface="Arial" pitchFamily="34" charset="0"/>
                          <a:cs typeface="Arial" pitchFamily="34" charset="0"/>
                        </a:rPr>
                        <a:t>получателей</a:t>
                      </a:r>
                    </a:p>
                    <a:p>
                      <a:pPr marL="0" indent="9525" algn="ctr">
                        <a:buFontTx/>
                        <a:buNone/>
                      </a:pPr>
                      <a:r>
                        <a:rPr lang="ru-RU" sz="1200" b="0" baseline="0" dirty="0" smtClean="0">
                          <a:latin typeface="Arial" pitchFamily="34" charset="0"/>
                          <a:cs typeface="Arial" pitchFamily="34" charset="0"/>
                        </a:rPr>
                        <a:t>в 1,3 раза</a:t>
                      </a:r>
                    </a:p>
                    <a:p>
                      <a:pPr marL="0" indent="9525" algn="ctr">
                        <a:buFontTx/>
                        <a:buChar char="-"/>
                      </a:pPr>
                      <a:r>
                        <a:rPr lang="ru-RU" sz="1200" b="0" baseline="0" dirty="0" smtClean="0">
                          <a:latin typeface="Arial" pitchFamily="34" charset="0"/>
                          <a:cs typeface="Arial" pitchFamily="34" charset="0"/>
                        </a:rPr>
                        <a:t>продуктивности 18 до 19,2 кг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1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тонкорунное</a:t>
                      </a:r>
                      <a:r>
                        <a:rPr lang="ru-RU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 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аракул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8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41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грубошерстные и грубошерстны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6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1261">
                <a:tc rowSpan="3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елекционно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племенная работ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варных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овец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1500 за маточную голову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онкорунно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4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1261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тонкорунное и каракул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3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73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грубошерстные и грубошерстны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2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6616">
                <a:tc rowSpan="3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купка племенных овец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8 000 гол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,9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онкорунно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lang="ru-RU" sz="1200" b="1" baseline="0" dirty="0" smtClean="0">
                          <a:latin typeface="Arial" pitchFamily="34" charset="0"/>
                          <a:cs typeface="Arial" pitchFamily="34" charset="0"/>
                        </a:rPr>
                        <a:t> 000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,7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1261">
                <a:tc vMerge="1">
                  <a:txBody>
                    <a:bodyPr/>
                    <a:lstStyle/>
                    <a:p>
                      <a:pPr algn="l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тонкорунное и каракуль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0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5671">
                <a:tc vMerge="1">
                  <a:txBody>
                    <a:bodyPr/>
                    <a:lstStyle/>
                    <a:p>
                      <a:pPr algn="l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грубошерстные и грубошерстные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000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1261">
                <a:tc rowSpan="3"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изводство баранин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0 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г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7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изводство ягнятины: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0,7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/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Увеличение:</a:t>
                      </a:r>
                      <a:r>
                        <a:rPr lang="ru-RU" sz="1200" b="1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indent="0" algn="ctr">
                        <a:buFontTx/>
                        <a:buChar char="-"/>
                      </a:pP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объема в 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10 раз</a:t>
                      </a:r>
                      <a:endParaRPr lang="ru-RU" sz="11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200" baseline="0" dirty="0" smtClean="0">
                          <a:latin typeface="Arial" pitchFamily="34" charset="0"/>
                          <a:cs typeface="Arial" pitchFamily="34" charset="0"/>
                        </a:rPr>
                        <a:t>- получателей в 1,3 раза  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85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льхозформирования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00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4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0 кг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оперативы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00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2000">
                <a:tc rowSpan="2"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онкая шерсть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0 кг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качество от 60-64)</a:t>
                      </a:r>
                    </a:p>
                    <a:p>
                      <a:pPr algn="ctr"/>
                      <a:endParaRPr lang="ru-RU" sz="1200" b="1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2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ачество от 60-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0 кг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4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величение: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ъема в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6 раз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чателей в 3,6 раз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грузка ПОШ в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раза (с 1,2 до 2,7 тыс. </a:t>
                      </a:r>
                      <a:r>
                        <a:rPr kumimoji="0" lang="ru-RU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н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)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9600">
                <a:tc vMerge="1">
                  <a:txBody>
                    <a:bodyPr/>
                    <a:lstStyle/>
                    <a:p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ачество от 50-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0 кг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56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скусственное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семенение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21 гол</a:t>
                      </a:r>
                      <a:endParaRPr lang="ru-RU" sz="1200" b="1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2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ез изменений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21 гол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2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6616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,9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5,1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955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Стрелка вправо 25"/>
          <p:cNvSpPr/>
          <p:nvPr/>
        </p:nvSpPr>
        <p:spPr>
          <a:xfrm>
            <a:off x="3740224" y="6235468"/>
            <a:ext cx="831776" cy="21499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</a:endParaRPr>
          </a:p>
        </p:txBody>
      </p:sp>
      <p:sp>
        <p:nvSpPr>
          <p:cNvPr id="25" name="Стрелка вправо 24"/>
          <p:cNvSpPr/>
          <p:nvPr/>
        </p:nvSpPr>
        <p:spPr>
          <a:xfrm>
            <a:off x="3733800" y="5410200"/>
            <a:ext cx="831776" cy="21499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34200" y="6422606"/>
            <a:ext cx="2133600" cy="365125"/>
          </a:xfrm>
        </p:spPr>
        <p:txBody>
          <a:bodyPr/>
          <a:lstStyle/>
          <a:p>
            <a:pPr>
              <a:defRPr/>
            </a:pPr>
            <a:fld id="{03B12B55-6AB4-40F1-83D5-8F4CF6606274}" type="slidenum">
              <a:rPr lang="ru-RU" sz="1600" b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8</a:t>
            </a:fld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0" y="57090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b="1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СУБСИДИРОВАНИЕ В </a:t>
            </a:r>
            <a:r>
              <a:rPr lang="ru-RU" altLang="ru-RU" b="1" dirty="0" smtClean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РАСТЕНИЕВОДСТВЕ</a:t>
            </a:r>
            <a:endParaRPr lang="ru-RU" altLang="ru-RU" b="1" dirty="0">
              <a:solidFill>
                <a:schemeClr val="tx2">
                  <a:lumMod val="75000"/>
                </a:schemeClr>
              </a:solidFill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762000"/>
            <a:ext cx="3359224" cy="286232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sz="1200" kern="0" dirty="0" smtClean="0">
                <a:solidFill>
                  <a:schemeClr val="accent1">
                    <a:lumMod val="50000"/>
                  </a:schemeClr>
                </a:solidFill>
              </a:rPr>
              <a:t>Гектарная субсидия</a:t>
            </a:r>
          </a:p>
          <a:p>
            <a:pPr algn="l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субсидирование </a:t>
            </a: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на 1 </a:t>
            </a: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га: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зерновых </a:t>
            </a: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и </a:t>
            </a: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зернобобовых</a:t>
            </a:r>
          </a:p>
          <a:p>
            <a:pPr indent="263525" algn="just">
              <a:defRPr/>
            </a:pP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масличных культур</a:t>
            </a:r>
          </a:p>
          <a:p>
            <a:pPr indent="263525" algn="just">
              <a:defRPr/>
            </a:pP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к</a:t>
            </a: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ормовых культур</a:t>
            </a:r>
            <a:endParaRPr lang="ru-RU" sz="1200" b="0" kern="0" dirty="0">
              <a:solidFill>
                <a:schemeClr val="accent1">
                  <a:lumMod val="50000"/>
                </a:schemeClr>
              </a:solidFill>
            </a:endParaRPr>
          </a:p>
          <a:p>
            <a:pPr indent="263525" algn="just">
              <a:defRPr/>
            </a:pP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овощей защищенного грунта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сахарной свеклы</a:t>
            </a:r>
          </a:p>
          <a:p>
            <a:pPr indent="263525" algn="just">
              <a:defRPr/>
            </a:pP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кукурузы на зерно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хлопчатника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риса  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картофеля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овощебахчевых </a:t>
            </a:r>
            <a:r>
              <a:rPr lang="ru-RU" sz="1200" b="0" kern="0" dirty="0">
                <a:solidFill>
                  <a:schemeClr val="accent1">
                    <a:lumMod val="50000"/>
                  </a:schemeClr>
                </a:solidFill>
              </a:rPr>
              <a:t>открытого </a:t>
            </a: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грунта</a:t>
            </a:r>
          </a:p>
          <a:p>
            <a:pPr indent="263525" algn="just">
              <a:defRPr/>
            </a:pPr>
            <a:endParaRPr lang="kk-KZ" sz="1200" b="0" kern="0" dirty="0">
              <a:solidFill>
                <a:schemeClr val="accent1">
                  <a:lumMod val="50000"/>
                </a:schemeClr>
              </a:solidFill>
            </a:endParaRPr>
          </a:p>
          <a:p>
            <a:pPr indent="263525" algn="just">
              <a:defRPr/>
            </a:pPr>
            <a:r>
              <a:rPr lang="kk-KZ" sz="1200" b="0" kern="0" dirty="0" smtClean="0">
                <a:solidFill>
                  <a:schemeClr val="accent1">
                    <a:lumMod val="50000"/>
                  </a:schemeClr>
                </a:solidFill>
              </a:rPr>
              <a:t>2017г. общая сумма 26,3 млрд. тенге</a:t>
            </a:r>
          </a:p>
          <a:p>
            <a:pPr indent="263525" algn="just">
              <a:defRPr/>
            </a:pPr>
            <a:r>
              <a:rPr lang="ru-RU" sz="1200" b="0" kern="0" dirty="0" smtClean="0">
                <a:solidFill>
                  <a:schemeClr val="accent1">
                    <a:lumMod val="50000"/>
                  </a:schemeClr>
                </a:solidFill>
              </a:rPr>
              <a:t>Охват 10 млн. г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41412" y="3048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Действующая схема 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0" y="762000"/>
            <a:ext cx="4038600" cy="33085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indent="268288" algn="just">
              <a:defRPr/>
            </a:pPr>
            <a:r>
              <a:rPr lang="ru-RU" sz="1100" kern="0" dirty="0" smtClean="0">
                <a:solidFill>
                  <a:schemeClr val="accent1">
                    <a:lumMod val="50000"/>
                  </a:schemeClr>
                </a:solidFill>
              </a:rPr>
              <a:t>Исключить субсидирование пшеницы</a:t>
            </a:r>
          </a:p>
          <a:p>
            <a:pPr indent="268288" algn="just">
              <a:defRPr/>
            </a:pP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Осуществлять господдержку:</a:t>
            </a:r>
          </a:p>
          <a:p>
            <a:pPr indent="268288" algn="just">
              <a:defRPr/>
            </a:pP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зерновых и </a:t>
            </a:r>
            <a:r>
              <a:rPr lang="ru-RU" sz="1100" b="0" kern="0" dirty="0" err="1" smtClean="0">
                <a:solidFill>
                  <a:schemeClr val="accent1">
                    <a:lumMod val="50000"/>
                  </a:schemeClr>
                </a:solidFill>
              </a:rPr>
              <a:t>зернобовых</a:t>
            </a: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 (ячменя, овса и кукурузы на зерно) </a:t>
            </a:r>
            <a:r>
              <a:rPr lang="ru-RU" sz="1100" kern="0" dirty="0" smtClean="0">
                <a:solidFill>
                  <a:schemeClr val="accent1">
                    <a:lumMod val="50000"/>
                  </a:schemeClr>
                </a:solidFill>
              </a:rPr>
              <a:t>путем кредитования ВПР</a:t>
            </a:r>
          </a:p>
          <a:p>
            <a:pPr indent="268288" algn="just">
              <a:defRPr/>
            </a:pP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масличных культур, сахарной свеклы </a:t>
            </a:r>
            <a:r>
              <a:rPr lang="ru-RU" sz="1100" kern="0" dirty="0" smtClean="0">
                <a:solidFill>
                  <a:schemeClr val="accent1">
                    <a:lumMod val="50000"/>
                  </a:schemeClr>
                </a:solidFill>
              </a:rPr>
              <a:t>субсидированием за  тонну сданной продукции </a:t>
            </a:r>
            <a:r>
              <a:rPr lang="ru-RU" sz="1100" kern="0" dirty="0">
                <a:solidFill>
                  <a:schemeClr val="accent1">
                    <a:lumMod val="50000"/>
                  </a:schemeClr>
                </a:solidFill>
              </a:rPr>
              <a:t>и </a:t>
            </a:r>
            <a:r>
              <a:rPr lang="ru-RU" sz="1100" kern="0" dirty="0" smtClean="0">
                <a:solidFill>
                  <a:schemeClr val="accent1">
                    <a:lumMod val="50000"/>
                  </a:schemeClr>
                </a:solidFill>
              </a:rPr>
              <a:t>кредитованием ВПР:</a:t>
            </a:r>
          </a:p>
          <a:p>
            <a:pPr indent="268288" algn="just">
              <a:defRPr/>
            </a:pP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оставить </a:t>
            </a:r>
            <a:r>
              <a:rPr lang="ru-RU" sz="1100" kern="0" dirty="0">
                <a:solidFill>
                  <a:schemeClr val="accent1">
                    <a:lumMod val="50000"/>
                  </a:schemeClr>
                </a:solidFill>
              </a:rPr>
              <a:t>субсидирование на 1 га кормовых</a:t>
            </a:r>
            <a:r>
              <a:rPr lang="ru-RU" sz="1100" b="0" kern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культур (многолетние травы, однолетние и силосные культуры);</a:t>
            </a:r>
          </a:p>
          <a:p>
            <a:pPr indent="268288" algn="just">
              <a:defRPr/>
            </a:pP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хлопчатник и риса: </a:t>
            </a:r>
            <a:r>
              <a:rPr lang="ru-RU" sz="1100" kern="0" dirty="0" smtClean="0">
                <a:solidFill>
                  <a:schemeClr val="accent1">
                    <a:lumMod val="50000"/>
                  </a:schemeClr>
                </a:solidFill>
              </a:rPr>
              <a:t>50% норматива за 1 га и 50% за 1 тонну сданной продукции;</a:t>
            </a:r>
          </a:p>
          <a:p>
            <a:pPr indent="268288" algn="just">
              <a:defRPr/>
            </a:pPr>
            <a:r>
              <a:rPr lang="ru-RU" sz="1100" b="0" kern="0" dirty="0">
                <a:solidFill>
                  <a:schemeClr val="accent1">
                    <a:lumMod val="50000"/>
                  </a:schemeClr>
                </a:solidFill>
              </a:rPr>
              <a:t>овощебахчевых открытого </a:t>
            </a:r>
            <a:r>
              <a:rPr lang="ru-RU" sz="1100" b="0" kern="0" dirty="0" smtClean="0">
                <a:solidFill>
                  <a:schemeClr val="accent1">
                    <a:lumMod val="50000"/>
                  </a:schemeClr>
                </a:solidFill>
              </a:rPr>
              <a:t>грунта выплатой базовых субсидий (удобрения, пестициды, семена) </a:t>
            </a:r>
            <a:endParaRPr lang="ru-RU" sz="1100" b="0" kern="0" dirty="0">
              <a:solidFill>
                <a:schemeClr val="accent1">
                  <a:lumMod val="50000"/>
                </a:schemeClr>
              </a:solidFill>
            </a:endParaRPr>
          </a:p>
          <a:p>
            <a:pPr indent="268288" algn="just">
              <a:defRPr/>
            </a:pPr>
            <a:endParaRPr lang="ru-RU" sz="1100" kern="0" dirty="0">
              <a:solidFill>
                <a:schemeClr val="accent1">
                  <a:lumMod val="50000"/>
                </a:schemeClr>
              </a:solidFill>
            </a:endParaRPr>
          </a:p>
          <a:p>
            <a:pPr indent="268288" algn="just">
              <a:defRPr/>
            </a:pPr>
            <a:r>
              <a:rPr lang="kk-KZ" sz="1100" b="0" kern="0" dirty="0">
                <a:solidFill>
                  <a:schemeClr val="accent1">
                    <a:lumMod val="50000"/>
                  </a:schemeClr>
                </a:solidFill>
              </a:rPr>
              <a:t>2017 г. общая сумма 88,1 млрд. тенге:</a:t>
            </a:r>
          </a:p>
          <a:p>
            <a:pPr indent="268288" algn="just">
              <a:defRPr/>
            </a:pPr>
            <a:r>
              <a:rPr lang="kk-KZ" sz="1100" b="0" kern="0" dirty="0">
                <a:solidFill>
                  <a:schemeClr val="accent1">
                    <a:lumMod val="50000"/>
                  </a:schemeClr>
                </a:solidFill>
              </a:rPr>
              <a:t>субсидиии 28,1 млрд. тенге;</a:t>
            </a:r>
          </a:p>
          <a:p>
            <a:pPr indent="268288" algn="just">
              <a:defRPr/>
            </a:pPr>
            <a:r>
              <a:rPr lang="kk-KZ" sz="1100" b="0" kern="0" dirty="0">
                <a:solidFill>
                  <a:schemeClr val="accent1">
                    <a:lumMod val="50000"/>
                  </a:schemeClr>
                </a:solidFill>
              </a:rPr>
              <a:t>кредитов на ВПР 60 млрд. тенге. Увеличение посевов зерновых и зернобобовых культур (за исключением пшеницы) до 3 млн. га, масличных  до 2,3 млн. га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79089" y="304800"/>
            <a:ext cx="2624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Предлагаемая схема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00" y="4198203"/>
            <a:ext cx="3359224" cy="8309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kk-KZ" sz="1200" b="0" dirty="0" smtClean="0">
                <a:solidFill>
                  <a:schemeClr val="accent1">
                    <a:lumMod val="50000"/>
                  </a:schemeClr>
                </a:solidFill>
              </a:rPr>
              <a:t>Субсидирование </a:t>
            </a:r>
            <a:r>
              <a:rPr lang="ru-RU" sz="1200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200" b="0" dirty="0">
                <a:solidFill>
                  <a:schemeClr val="accent1">
                    <a:lumMod val="50000"/>
                  </a:schemeClr>
                </a:solidFill>
              </a:rPr>
              <a:t>стоимости минеральных </a:t>
            </a:r>
            <a:r>
              <a:rPr lang="ru-RU" sz="1200" b="0" dirty="0" smtClean="0">
                <a:solidFill>
                  <a:schemeClr val="accent1">
                    <a:lumMod val="50000"/>
                  </a:schemeClr>
                </a:solidFill>
              </a:rPr>
              <a:t>удобрений</a:t>
            </a:r>
          </a:p>
          <a:p>
            <a:pPr algn="l"/>
            <a:r>
              <a:rPr lang="ru-RU" sz="1200" b="0" dirty="0" smtClean="0">
                <a:solidFill>
                  <a:schemeClr val="accent1">
                    <a:lumMod val="50000"/>
                  </a:schemeClr>
                </a:solidFill>
              </a:rPr>
              <a:t>Общая сумма 16,1 </a:t>
            </a:r>
            <a:r>
              <a:rPr lang="ru-RU" sz="1200" b="0" dirty="0" err="1" smtClean="0">
                <a:solidFill>
                  <a:schemeClr val="accent1">
                    <a:lumMod val="50000"/>
                  </a:schemeClr>
                </a:solidFill>
              </a:rPr>
              <a:t>млрд.тенге</a:t>
            </a:r>
            <a:r>
              <a:rPr lang="ru-RU" sz="1200" b="0" dirty="0" smtClean="0">
                <a:solidFill>
                  <a:schemeClr val="accent1">
                    <a:lumMod val="50000"/>
                  </a:schemeClr>
                </a:solidFill>
              </a:rPr>
              <a:t>, охват 3 млн. га </a:t>
            </a:r>
            <a:endParaRPr lang="ru-RU" sz="12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1000" y="6019800"/>
            <a:ext cx="3359224" cy="6463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 b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200" dirty="0"/>
              <a:t>Субсидирование развития </a:t>
            </a:r>
            <a:r>
              <a:rPr lang="ru-RU" sz="1200" dirty="0" smtClean="0"/>
              <a:t>семеноводства</a:t>
            </a:r>
          </a:p>
          <a:p>
            <a:pPr algn="l"/>
            <a:r>
              <a:rPr lang="ru-RU" sz="1200" dirty="0"/>
              <a:t>Общая сумма </a:t>
            </a:r>
            <a:r>
              <a:rPr lang="ru-RU" sz="1200" dirty="0" smtClean="0"/>
              <a:t>4,2 </a:t>
            </a:r>
            <a:r>
              <a:rPr lang="ru-RU" sz="1200" dirty="0" err="1"/>
              <a:t>млрд.тенге</a:t>
            </a:r>
            <a:r>
              <a:rPr lang="ru-RU" sz="1200" dirty="0"/>
              <a:t>, охват </a:t>
            </a:r>
            <a:r>
              <a:rPr lang="ru-RU" sz="1200" dirty="0" smtClean="0"/>
              <a:t>0,6  млн. га засеяны семенами 1 репродукци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4576" y="5181600"/>
            <a:ext cx="3359224" cy="6463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 b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200" dirty="0"/>
              <a:t> Субсидирование стоимости </a:t>
            </a:r>
            <a:r>
              <a:rPr lang="ru-RU" sz="1200" dirty="0" smtClean="0"/>
              <a:t>гербицидов</a:t>
            </a:r>
          </a:p>
          <a:p>
            <a:pPr algn="l"/>
            <a:r>
              <a:rPr lang="ru-RU" sz="1200" dirty="0"/>
              <a:t>Общая сумма </a:t>
            </a:r>
            <a:r>
              <a:rPr lang="ru-RU" sz="1200" dirty="0" smtClean="0"/>
              <a:t>21,1  </a:t>
            </a:r>
            <a:r>
              <a:rPr lang="ru-RU" sz="1200" dirty="0"/>
              <a:t>млрд</a:t>
            </a:r>
            <a:r>
              <a:rPr lang="ru-RU" sz="1200" dirty="0" smtClean="0"/>
              <a:t>. тенге</a:t>
            </a:r>
            <a:r>
              <a:rPr lang="ru-RU" sz="1200" dirty="0"/>
              <a:t>, охват 12 </a:t>
            </a:r>
            <a:r>
              <a:rPr lang="ru-RU" sz="1200" dirty="0">
                <a:solidFill>
                  <a:schemeClr val="tx1"/>
                </a:solidFill>
              </a:rPr>
              <a:t>млн</a:t>
            </a:r>
            <a:r>
              <a:rPr lang="ru-RU" sz="1200" dirty="0"/>
              <a:t>. г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72001" y="4197055"/>
            <a:ext cx="4039200" cy="76944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Установление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норм субсидий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на удобрения в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абсолютном выражении (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тенге) вне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зависимости от страны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происхождения</a:t>
            </a:r>
          </a:p>
          <a:p>
            <a:pPr algn="l"/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Общая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сумма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14,3 </a:t>
            </a:r>
            <a:r>
              <a:rPr lang="ru-RU" sz="1100" b="0" dirty="0" err="1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млрд.тенге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, охват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4,2 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</a:rPr>
              <a:t>млн. га</a:t>
            </a:r>
            <a:endParaRPr lang="ru-RU" sz="11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56532" y="5936159"/>
            <a:ext cx="4039200" cy="76944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r>
              <a:rPr lang="ru-RU" sz="1100" b="0" dirty="0">
                <a:solidFill>
                  <a:schemeClr val="accent1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убсидирование оригинальных, элитных семян, семян первой репродукции</a:t>
            </a:r>
            <a:r>
              <a:rPr lang="ru-RU" sz="1100" b="0" dirty="0">
                <a:solidFill>
                  <a:prstClr val="white"/>
                </a:solidFill>
              </a:rPr>
              <a:t>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</a:rPr>
              <a:t> (гибридов) и элитных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саженцев</a:t>
            </a:r>
          </a:p>
          <a:p>
            <a:pPr lvl="0" algn="l"/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Общая 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</a:rPr>
              <a:t>сумма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8,5  </a:t>
            </a:r>
            <a:r>
              <a:rPr lang="ru-RU" sz="1100" b="0" dirty="0" err="1">
                <a:solidFill>
                  <a:schemeClr val="accent1">
                    <a:lumMod val="50000"/>
                  </a:schemeClr>
                </a:solidFill>
              </a:rPr>
              <a:t>млрд.тенге</a:t>
            </a:r>
            <a:r>
              <a:rPr lang="ru-RU" sz="1100" b="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увеличение в 2,5 раз площадей засеянных элитными семенами </a:t>
            </a:r>
            <a:endParaRPr lang="ru-RU" sz="11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72000" y="5181600"/>
            <a:ext cx="4039200" cy="60016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Субсидирование пестицидов путем расширения перечня видов (фунгициды, инсектициды, дефолианты и др.)</a:t>
            </a:r>
          </a:p>
          <a:p>
            <a:pPr algn="l"/>
            <a:r>
              <a:rPr lang="ru-RU" sz="1100" b="0" dirty="0" smtClean="0">
                <a:solidFill>
                  <a:schemeClr val="accent1">
                    <a:lumMod val="50000"/>
                  </a:schemeClr>
                </a:solidFill>
              </a:rPr>
              <a:t>Общая сумма 18,7  млрд. тенге, охват 13,4 млн. га</a:t>
            </a:r>
          </a:p>
        </p:txBody>
      </p:sp>
      <p:sp>
        <p:nvSpPr>
          <p:cNvPr id="20" name="Стрелка вправо 19"/>
          <p:cNvSpPr/>
          <p:nvPr/>
        </p:nvSpPr>
        <p:spPr>
          <a:xfrm>
            <a:off x="3740225" y="2071007"/>
            <a:ext cx="831776" cy="21499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</a:endParaRPr>
          </a:p>
        </p:txBody>
      </p:sp>
      <p:sp>
        <p:nvSpPr>
          <p:cNvPr id="24" name="Стрелка вправо 23"/>
          <p:cNvSpPr/>
          <p:nvPr/>
        </p:nvSpPr>
        <p:spPr>
          <a:xfrm>
            <a:off x="3740225" y="4509407"/>
            <a:ext cx="831776" cy="21499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14417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8</TotalTime>
  <Words>2639</Words>
  <Application>Microsoft Office PowerPoint</Application>
  <PresentationFormat>Экран (4:3)</PresentationFormat>
  <Paragraphs>731</Paragraphs>
  <Slides>19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2" baseType="lpstr"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Lenovo</dc:creator>
  <cp:lastModifiedBy>Сарсенбиева Алмагуль</cp:lastModifiedBy>
  <cp:revision>166</cp:revision>
  <cp:lastPrinted>2016-11-26T08:23:25Z</cp:lastPrinted>
  <dcterms:created xsi:type="dcterms:W3CDTF">2016-11-24T18:24:44Z</dcterms:created>
  <dcterms:modified xsi:type="dcterms:W3CDTF">2016-12-05T06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11-24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16-11-24T00:00:00Z</vt:filetime>
  </property>
</Properties>
</file>